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2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3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heme/theme4.xml" ContentType="application/vnd.openxmlformats-officedocument.theme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5.xml" ContentType="application/vnd.openxmlformats-officedocument.theme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theme/theme6.xml" ContentType="application/vnd.openxmlformats-officedocument.theme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theme/theme9.xml" ContentType="application/vnd.openxmlformats-officedocument.theme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10.xml" ContentType="application/vnd.openxmlformats-officedocument.theme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51" r:id="rId4"/>
    <p:sldMasterId id="2147484589" r:id="rId5"/>
    <p:sldMasterId id="2147484657" r:id="rId6"/>
    <p:sldMasterId id="2147484790" r:id="rId7"/>
    <p:sldMasterId id="2147484862" r:id="rId8"/>
    <p:sldMasterId id="2147484936" r:id="rId9"/>
    <p:sldMasterId id="2147485013" r:id="rId10"/>
    <p:sldMasterId id="2147485128" r:id="rId11"/>
    <p:sldMasterId id="2147485185" r:id="rId12"/>
    <p:sldMasterId id="2147485248" r:id="rId13"/>
    <p:sldMasterId id="2147485306" r:id="rId14"/>
    <p:sldMasterId id="2147485355" r:id="rId15"/>
  </p:sldMasterIdLst>
  <p:notesMasterIdLst>
    <p:notesMasterId r:id="rId31"/>
  </p:notesMasterIdLst>
  <p:sldIdLst>
    <p:sldId id="2147482714" r:id="rId16"/>
    <p:sldId id="2147482715" r:id="rId17"/>
    <p:sldId id="2147482716" r:id="rId18"/>
    <p:sldId id="2147482725" r:id="rId19"/>
    <p:sldId id="2147482726" r:id="rId20"/>
    <p:sldId id="2147482717" r:id="rId21"/>
    <p:sldId id="2147482718" r:id="rId22"/>
    <p:sldId id="2147482719" r:id="rId23"/>
    <p:sldId id="2147482720" r:id="rId24"/>
    <p:sldId id="2147482721" r:id="rId25"/>
    <p:sldId id="2147482722" r:id="rId26"/>
    <p:sldId id="2147482723" r:id="rId27"/>
    <p:sldId id="2147482724" r:id="rId28"/>
    <p:sldId id="2147475117" r:id="rId29"/>
    <p:sldId id="329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91BCEF1-E26E-4A0B-BE35-C98169A15925}">
          <p14:sldIdLst>
            <p14:sldId id="2147482714"/>
            <p14:sldId id="2147482715"/>
            <p14:sldId id="2147482716"/>
            <p14:sldId id="2147482725"/>
            <p14:sldId id="2147482726"/>
            <p14:sldId id="2147482717"/>
            <p14:sldId id="2147482718"/>
            <p14:sldId id="2147482719"/>
            <p14:sldId id="2147482720"/>
            <p14:sldId id="2147482721"/>
            <p14:sldId id="2147482722"/>
            <p14:sldId id="2147482723"/>
            <p14:sldId id="2147482724"/>
          </p14:sldIdLst>
        </p14:section>
        <p14:section name="Appendix" id="{84167ACD-E0C5-458C-85EF-55144F4F5676}">
          <p14:sldIdLst>
            <p14:sldId id="2147475117"/>
            <p14:sldId id="3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018263-5887-7C93-CA05-423238C671BB}" name="Jeff Westenhaver" initials="JW" userId="S::Jeff_Westenhaver@epam.com::5c5d4bd2-1054-4b00-a695-a761e1e0dbaa" providerId="AD"/>
  <p188:author id="{5426DDD3-3F9F-FEAA-C52C-AB9617315B83}" name="Darren Lester" initials="DL" userId="S::Darren_Lester@epam.com::6a469b67-5da7-4985-9963-948b0eed634b" providerId="AD"/>
  <p188:author id="{6F4886DF-9B51-0496-F556-C6B0521EFB87}" name="Clement Mengue" initials="CM" userId="S::Clement_Mengue@epam.com::253b75a0-4636-45cd-95b9-7200450edbd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C2"/>
    <a:srgbClr val="186671"/>
    <a:srgbClr val="060606"/>
    <a:srgbClr val="B8E1E7"/>
    <a:srgbClr val="008ACF"/>
    <a:srgbClr val="69BFFF"/>
    <a:srgbClr val="55BFF2"/>
    <a:srgbClr val="13E2F2"/>
    <a:srgbClr val="10EEFF"/>
    <a:srgbClr val="5EC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60"/>
    <p:restoredTop sz="94694"/>
  </p:normalViewPr>
  <p:slideViewPr>
    <p:cSldViewPr snapToGrid="0">
      <p:cViewPr varScale="1">
        <p:scale>
          <a:sx n="106" d="100"/>
          <a:sy n="106" d="100"/>
        </p:scale>
        <p:origin x="200" y="5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DA449-81D0-4C65-80FA-E84926361CC3}" type="datetimeFigureOut">
              <a:rPr lang="en-US"/>
              <a:t>2/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A5C3A5-A464-4897-B884-BB9B35180A5B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570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hyperlink" Target="https://epa.ms/stories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12.emf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.xml"/><Relationship Id="rId4" Type="http://schemas.openxmlformats.org/officeDocument/2006/relationships/image" Target="../media/image53.emf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4" Type="http://schemas.openxmlformats.org/officeDocument/2006/relationships/image" Target="../media/image54.emf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9.svg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5" Type="http://schemas.microsoft.com/office/2007/relationships/hdphoto" Target="../media/hdphoto1.wdp"/><Relationship Id="rId4" Type="http://schemas.openxmlformats.org/officeDocument/2006/relationships/image" Target="../media/image57.png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0.svg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0.svg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0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0.svg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hyperlink" Target="https://epa.ms/stories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0.svg"/><Relationship Id="rId5" Type="http://schemas.openxmlformats.org/officeDocument/2006/relationships/image" Target="../media/image5.png"/><Relationship Id="rId4" Type="http://schemas.openxmlformats.org/officeDocument/2006/relationships/image" Target="../media/image12.emf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8.svg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8.svg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8.svg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8.svg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8.svg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8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9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9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sv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Relationship Id="rId4" Type="http://schemas.openxmlformats.org/officeDocument/2006/relationships/hyperlink" Target="https://epa.ms/stories" TargetMode="Externa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Relationship Id="rId4" Type="http://schemas.openxmlformats.org/officeDocument/2006/relationships/hyperlink" Target="https://epa.ms/stories" TargetMode="Externa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Relationship Id="rId4" Type="http://schemas.openxmlformats.org/officeDocument/2006/relationships/hyperlink" Target="https://epa.ms/stories" TargetMode="Externa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Relationship Id="rId4" Type="http://schemas.openxmlformats.org/officeDocument/2006/relationships/hyperlink" Target="https://epa.ms/stories" TargetMode="Externa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9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emf"/><Relationship Id="rId1" Type="http://schemas.openxmlformats.org/officeDocument/2006/relationships/slideMaster" Target="../slideMasters/slideMaster9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svg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svg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svg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svg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7.svg"/><Relationship Id="rId4" Type="http://schemas.openxmlformats.org/officeDocument/2006/relationships/image" Target="../media/image5.png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.svg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.svg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.svg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.svg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svg"/><Relationship Id="rId4" Type="http://schemas.openxmlformats.org/officeDocument/2006/relationships/image" Target="../media/image5.png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0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1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1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sv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1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1.xml"/><Relationship Id="rId4" Type="http://schemas.openxmlformats.org/officeDocument/2006/relationships/hyperlink" Target="https://epa.ms/stories" TargetMode="External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2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2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svg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svg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svg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sv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svg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2.emf"/><Relationship Id="rId4" Type="http://schemas.openxmlformats.org/officeDocument/2006/relationships/image" Target="../media/image7.svg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svg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svg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svg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svg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svg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right light in the dark&#10;&#10;Description automatically generated with medium confidence">
            <a:extLst>
              <a:ext uri="{FF2B5EF4-FFF2-40B4-BE49-F238E27FC236}">
                <a16:creationId xmlns:a16="http://schemas.microsoft.com/office/drawing/2014/main" id="{292D94B7-0233-C940-0B7E-BB187340B7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48AADE-3723-5675-1E93-91E2083DA9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2020841-C9E1-4289-E94E-04CC0C8D6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E233166-418F-6386-079E-CEDA3BF98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C7376-20F0-E0B1-E7D5-414FC5DC35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627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BEA6F8A-F8D2-0E03-127C-C4C39351E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86F72EA-0ABE-9A8E-4E77-930AA5496A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5E6E347-3D84-596D-2504-6BB7F34831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5684E56-61FE-0760-81FB-D738FF31CE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AFDEA9-4B5D-18D7-3B7C-ADC156E9EFC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818241-0582-A630-8CB0-7598682D85E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8188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0096CA2-6B8E-1E0B-7446-BC5F37E73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0402405-4264-41C3-7E10-6A2AF1A461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93143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700771F-7FE8-2510-0C0E-734572A38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1513A24-C9FD-06A1-1015-D9656D68B8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8712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1C45522-9A1C-E9EB-4D96-B0CFFD2F7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250256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E6E8F6-4D6C-2884-0A7D-72BB39B21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2502567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07FC1-18DF-2355-0123-10BF2390C02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B024407-B901-7B1F-04F9-932983C670E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99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B7486B-35A7-A3FF-6F44-2159B1E9FAD3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82A7F25-3763-4002-A844-19432F96312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BC1AB0-2CF4-70A1-0BD7-A9A57D9F9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342021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B299D4E-38EF-AC64-7836-1AD1E87996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342021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9895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9FDF51-3B9F-C5D8-7A84-09B7B6CB9E8B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D3A15A-582D-3DDB-CC40-43726E84CA4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D8F2DF5-DE6F-E2FC-0057-63CC04174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4897430-924B-CB14-9A94-8DB20A76C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27183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5" y="0"/>
            <a:ext cx="2371722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E6AE37-FC1E-5269-1E83-C3E9928ED25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7A8488-5F43-686E-E10B-16D16E352E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7DE099-ACDF-D41B-FBC3-5EE9A76F4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7450138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F7055BE-CD0F-6E9E-5992-4C7B9EF5FA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3600000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16255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C6BA4E-CBCB-554D-CA98-146A521CFDF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B62B8-4926-8E23-51B4-D8AC31708BB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A808058-9E6F-F0D8-A385-7B4C54766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00513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3D95AB9-CE03-7AFD-DBBE-C67756B35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005137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44094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2F6686-8C0A-120D-0C06-1F8DA97E3C4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65D26-CB94-F414-6836-638151C91C4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5037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02B5D-C175-DE3C-BEC7-EB4A41870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106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93C67F9-F2A6-3918-0A8D-555112C9F4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382446"/>
            <a:ext cx="2695074" cy="207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93552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9962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8956E04-CBD7-E482-8975-949516BE3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DF04DE8-18FA-CC1C-A2E5-416F24CA08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BD1EAAB-FF14-59B6-EB7C-E327DBE47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3ED1D57-42C1-01EC-FDEC-8930A13F02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A158379-42B6-CCBC-ACEF-3055CDBB2D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C1715E-3786-F104-88AB-8B85E2F6D91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00928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F219C23-5248-6A23-1656-7F24D37DB2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D0F7879-EF16-5C25-BC5F-DF85AD10BA3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7931746-EE72-E501-E583-1218E82991F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868344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4859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60546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663" y="1035424"/>
            <a:ext cx="464820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7200" b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4663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663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663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663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4663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4663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474663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3291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295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446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+UpSubtitle">
    <p:bg>
      <p:bgPr>
        <a:solidFill>
          <a:srgbClr val="1A51BF">
            <a:alpha val="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rgbClr val="1A337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56837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9FDF51-3B9F-C5D8-7A84-09B7B6CB9E8B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D3A15A-582D-3DDB-CC40-43726E84CA4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D8F2DF5-DE6F-E2FC-0057-63CC04174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4897430-924B-CB14-9A94-8DB20A76C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31518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- Engineering the fu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D6769452-030B-5548-B575-999D639F6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165" y="1965960"/>
            <a:ext cx="5755248" cy="221599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7200" b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Engineering </a:t>
            </a:r>
            <a:br>
              <a:rPr lang="en-US"/>
            </a:br>
            <a:r>
              <a:rPr lang="en-US"/>
              <a:t>the fu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E591FA8-32DC-888B-80DE-ADAE5DC39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6" y="4698134"/>
            <a:ext cx="551927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For more information, contact</a:t>
            </a:r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35A9FB94-7CCF-9C1E-8BCB-40B9FCB350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6165" y="495300"/>
            <a:ext cx="1366997" cy="525985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4221741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- Solving problem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93918CA-37D3-6E67-2B74-7BFED25961A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DA042BC-1FD2-7D1E-CC38-7DD286F6B06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A8C3542-865E-93EF-996B-571A1E449D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30397" y="2812490"/>
            <a:ext cx="3763272" cy="1448009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24EA3C-A86E-4CE8-AB49-2B44BF4F50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04951" y="2865354"/>
            <a:ext cx="45720" cy="109728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9EB342-9395-4351-2FDB-CAF9F34FE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20635" y="2929838"/>
            <a:ext cx="5440968" cy="998325"/>
          </a:xfrm>
        </p:spPr>
        <p:txBody>
          <a:bodyPr anchor="ctr"/>
          <a:lstStyle>
            <a:lvl1pPr>
              <a:defRPr sz="36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/>
              <a:t>Solving real world problems at the speed of softwa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5969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CBC286D-0325-2652-6DE3-BC17B7921CDE}"/>
              </a:ext>
            </a:extLst>
          </p:cNvPr>
          <p:cNvSpPr txBox="1">
            <a:spLocks/>
          </p:cNvSpPr>
          <p:nvPr userDrawn="1"/>
        </p:nvSpPr>
        <p:spPr>
          <a:xfrm>
            <a:off x="481264" y="1667844"/>
            <a:ext cx="4403565" cy="101566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6000" b="1" i="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Disclaim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A858F5-1B5C-FD7A-432D-19F62375A90D}"/>
              </a:ext>
            </a:extLst>
          </p:cNvPr>
          <p:cNvSpPr/>
          <p:nvPr userDrawn="1"/>
        </p:nvSpPr>
        <p:spPr>
          <a:xfrm>
            <a:off x="481264" y="4759456"/>
            <a:ext cx="4267462" cy="98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 defTabSz="914354">
              <a:spcAft>
                <a:spcPts val="600"/>
              </a:spcAft>
              <a:defRPr/>
            </a:pPr>
            <a:r>
              <a:rPr lang="en-US" sz="1200" b="1">
                <a:solidFill>
                  <a:schemeClr val="accent2"/>
                </a:solidFill>
                <a:latin typeface="Calibri"/>
              </a:rPr>
              <a:t>This presentation was downloaded from Presales Stories. </a:t>
            </a:r>
          </a:p>
          <a:p>
            <a:pPr algn="l" defTabSz="914354">
              <a:defRPr/>
            </a:pPr>
            <a:r>
              <a:rPr lang="en-US" sz="1200" b="1">
                <a:solidFill>
                  <a:schemeClr val="accent2"/>
                </a:solidFill>
                <a:latin typeface="Calibri"/>
              </a:rPr>
              <a:t>Discover more content about EPAM’s Capabilities at </a:t>
            </a:r>
            <a:br>
              <a:rPr lang="en-US" sz="1200" b="1">
                <a:solidFill>
                  <a:schemeClr val="accent2"/>
                </a:solidFill>
                <a:latin typeface="Calibri"/>
              </a:rPr>
            </a:br>
            <a:r>
              <a:rPr lang="en-US" sz="1200" b="1" u="sng">
                <a:solidFill>
                  <a:schemeClr val="accent2"/>
                </a:solidFill>
                <a:latin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200" b="1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5C60129C-ED73-46C0-0FB7-BB32CA2BD978}"/>
              </a:ext>
            </a:extLst>
          </p:cNvPr>
          <p:cNvSpPr txBox="1">
            <a:spLocks/>
          </p:cNvSpPr>
          <p:nvPr userDrawn="1"/>
        </p:nvSpPr>
        <p:spPr>
          <a:xfrm>
            <a:off x="481264" y="2919114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Convert to PDF before shar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464A0-B9BD-B9A5-38BA-45F5800B2DA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64" y="872962"/>
            <a:ext cx="668294" cy="622205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C9E71BD3-C16B-E833-87BA-15C30377643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42082F-236C-033C-4BB1-ED91055E10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DDC278-1F97-461F-020F-97C4F17BCD4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03406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- Turning your vis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3BA02F-BDE9-3A03-3DA5-709A0EA3BA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auto">
          <a:xfrm>
            <a:off x="0" y="-15006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DA042BC-1FD2-7D1E-CC38-7DD286F6B06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A8C3542-865E-93EF-996B-571A1E449DF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2044800" y="2812490"/>
            <a:ext cx="3763272" cy="1448009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24EA3C-A86E-4CE8-AB49-2B44BF4F508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/>
          </p:nvPr>
        </p:nvSpPr>
        <p:spPr>
          <a:xfrm>
            <a:off x="6119354" y="2865354"/>
            <a:ext cx="45720" cy="109728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59ABFB-7201-CF25-16A7-DB7C3C968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4199" y="2929838"/>
            <a:ext cx="3901595" cy="998325"/>
          </a:xfrm>
        </p:spPr>
        <p:txBody>
          <a:bodyPr anchor="ctr"/>
          <a:lstStyle>
            <a:lvl1pPr>
              <a:defRPr sz="36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sz="3600"/>
              <a:t>Turning your vision into realit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764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6031849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62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655821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074" y="4670399"/>
            <a:ext cx="10515600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074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9074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374159C-7297-E470-BBCD-D20C41E7AF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9BE64C-8C5D-6F41-B4B2-4AE5FC1F4D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46663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641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Light_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DB3BCBD-094A-89F2-36B2-991FE93DA7AB}"/>
              </a:ext>
            </a:extLst>
          </p:cNvPr>
          <p:cNvSpPr/>
          <p:nvPr userDrawn="1"/>
        </p:nvSpPr>
        <p:spPr bwMode="auto">
          <a:xfrm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45000">
                <a:schemeClr val="bg1"/>
              </a:gs>
            </a:gsLst>
            <a:lin ang="0" scaled="0"/>
            <a:tileRect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0AA22CD8-EFF5-B4F0-9996-5D1D7528FA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074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074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9074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2CBA10-B1F8-6997-AD70-9626FD7974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46663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670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Light-G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38849588-3964-452F-8424-AEC7C9F26E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074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074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9074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2CBA10-B1F8-6997-AD70-9626FD7974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46663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805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Light-G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074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074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9074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2CBA10-B1F8-6997-AD70-9626FD7974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46663" cy="237744"/>
          </a:xfrm>
          <a:prstGeom prst="rect">
            <a:avLst/>
          </a:prstGeom>
        </p:spPr>
      </p:pic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1F175C76-1AF3-1FC2-AED0-8D15C0D101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9600" y="2483117"/>
            <a:ext cx="7772400" cy="4374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41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074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074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9074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2CBA10-B1F8-6997-AD70-9626FD7974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46663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97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horter_Title_Half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040E1BA6-2B94-3FB9-8A61-22A11D25EDE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23008" y="0"/>
            <a:ext cx="606899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DF60C00-4DF7-EA8B-64E5-6D8707C3F1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9074" y="4670399"/>
            <a:ext cx="5151216" cy="37253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8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CED6F17-ABB3-3BF2-0943-BB3D363DB3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074" y="5393921"/>
            <a:ext cx="5185941" cy="2000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3242F72-C056-2877-37FC-0C0E8E2FA1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9074" y="1653938"/>
            <a:ext cx="5139642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Shor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237D0-4B7C-4C74-1B34-6585F8B84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7260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1350512"/>
            <a:ext cx="359473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gradFill>
                  <a:gsLst>
                    <a:gs pos="0">
                      <a:schemeClr val="accent3"/>
                    </a:gs>
                    <a:gs pos="55000">
                      <a:schemeClr val="accent2"/>
                    </a:gs>
                    <a:gs pos="100000">
                      <a:schemeClr val="accent4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6051" y="154228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6051" y="223535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6051" y="291825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6051" y="361132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6051" y="4294232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6051" y="497713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98342" y="154228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8342" y="2235353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98342" y="291825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98342" y="361132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8342" y="4294232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8342" y="497713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522FB4-D05A-7BBC-4925-8F44384D8BAF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043581"/>
            <a:ext cx="671597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43E4466-9172-11FF-B631-0772F610EC0A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736156"/>
            <a:ext cx="671597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9B406A-62F3-7DD2-AFDA-098BD84DC9B8}"/>
              </a:ext>
            </a:extLst>
          </p:cNvPr>
          <p:cNvCxnSpPr>
            <a:cxnSpLocks/>
          </p:cNvCxnSpPr>
          <p:nvPr userDrawn="1"/>
        </p:nvCxnSpPr>
        <p:spPr>
          <a:xfrm>
            <a:off x="4828321" y="3428731"/>
            <a:ext cx="671597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121306"/>
            <a:ext cx="671597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813881"/>
            <a:ext cx="671597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828321" y="551146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A0D61D9-9731-8186-95AA-51476D66CB4B}"/>
              </a:ext>
            </a:extLst>
          </p:cNvPr>
          <p:cNvSpPr txBox="1"/>
          <p:nvPr userDrawn="1"/>
        </p:nvSpPr>
        <p:spPr>
          <a:xfrm>
            <a:off x="5347504" y="54401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72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93E89BDD-DFE0-2F52-8234-B4BA719C24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29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AB1331E-AD8D-C6DD-2EB9-162F1E8744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8E73F41-F196-FE58-99BD-8AFA2B90986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CA775BE-E377-94D3-AEB3-0F6AC5EABBE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1296AC5-6772-5447-9F7F-930222E7DD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3" name="Title 8">
            <a:extLst>
              <a:ext uri="{FF2B5EF4-FFF2-40B4-BE49-F238E27FC236}">
                <a16:creationId xmlns:a16="http://schemas.microsoft.com/office/drawing/2014/main" id="{522FF93D-C8A6-33EF-5BC7-877E52BEE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A81627C-09AF-5EC8-CA35-DF312ECADD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54719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1353882"/>
            <a:ext cx="3475727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6000" b="0">
                <a:gradFill>
                  <a:gsLst>
                    <a:gs pos="0">
                      <a:schemeClr val="accent3"/>
                    </a:gs>
                    <a:gs pos="55000">
                      <a:schemeClr val="accent2"/>
                    </a:gs>
                    <a:gs pos="100000">
                      <a:schemeClr val="accent4"/>
                    </a:gs>
                  </a:gsLst>
                  <a:lin ang="0" scaled="0"/>
                </a:gra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127679"/>
            <a:ext cx="694944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821255"/>
            <a:ext cx="694944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597093" y="551483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38260B-0DC8-F1D9-0A04-B34FD9548DDE}"/>
              </a:ext>
            </a:extLst>
          </p:cNvPr>
          <p:cNvCxnSpPr>
            <a:cxnSpLocks/>
          </p:cNvCxnSpPr>
          <p:nvPr userDrawn="1"/>
        </p:nvCxnSpPr>
        <p:spPr>
          <a:xfrm>
            <a:off x="4597093" y="3434103"/>
            <a:ext cx="694944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4323139-2B65-F98E-4BA6-26EBD4E0A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4801" y="1544424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203F9BF-BF5F-6A91-5F78-9E13CFB346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8400" y="1544424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76CC08A-4820-35BC-92E1-8230BD9D36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14801" y="2237970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7291D4C-4D95-8F05-0F5C-BA39164C82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8400" y="2237970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6CEF688-2334-22F4-39C4-5CC9525BC5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14801" y="2931516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C7F5B96-F4B8-B78A-06A1-1387CE266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8400" y="2931516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F2D20F35-3DAA-AC00-0D89-CD5517054A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14801" y="3625062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CEC68D4-F109-8967-2138-7755BCDA7F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48400" y="3625062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D31E2A1-E7D9-C6E2-1CAD-132E8FC150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14801" y="4318608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FFDA3CA-2B8B-D638-20E4-71AC7A34D73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48400" y="4318608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57F9336-F799-453A-9AE4-57BF009F4E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14801" y="5012153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CF06D8-4539-871E-68C7-607E709243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8400" y="5012153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040C191-15FC-CC2A-76C6-F51F8764B2F0}"/>
              </a:ext>
            </a:extLst>
          </p:cNvPr>
          <p:cNvCxnSpPr>
            <a:cxnSpLocks/>
          </p:cNvCxnSpPr>
          <p:nvPr userDrawn="1"/>
        </p:nvCxnSpPr>
        <p:spPr>
          <a:xfrm>
            <a:off x="4597093" y="2740527"/>
            <a:ext cx="694944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2D121A1-59B7-61ED-F9B5-D7F3CF3FA035}"/>
              </a:ext>
            </a:extLst>
          </p:cNvPr>
          <p:cNvCxnSpPr>
            <a:cxnSpLocks/>
          </p:cNvCxnSpPr>
          <p:nvPr userDrawn="1"/>
        </p:nvCxnSpPr>
        <p:spPr>
          <a:xfrm>
            <a:off x="4597094" y="2046951"/>
            <a:ext cx="694944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7788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Half_Pag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1772483"/>
            <a:ext cx="3594735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074" y="393961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BFE2FC0-3FA5-A96D-8741-0967434C45D8}"/>
              </a:ext>
            </a:extLst>
          </p:cNvPr>
          <p:cNvSpPr/>
          <p:nvPr userDrawn="1"/>
        </p:nvSpPr>
        <p:spPr bwMode="auto">
          <a:xfrm>
            <a:off x="7006459" y="0"/>
            <a:ext cx="1507755" cy="150775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softEdge rad="50192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44D886A-7EE9-3D61-5350-BFDC9DEF77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33560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0955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33604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lang="en-US" sz="2000" b="1" i="0" kern="1200" dirty="0">
                <a:solidFill>
                  <a:schemeClr val="accent2"/>
                </a:solidFill>
                <a:latin typeface="Calibri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074" y="312699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202904" y="0"/>
            <a:ext cx="498909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4061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2E69851-6AAB-66EC-0A76-12B276F29DA9}"/>
              </a:ext>
            </a:extLst>
          </p:cNvPr>
          <p:cNvSpPr/>
          <p:nvPr userDrawn="1"/>
        </p:nvSpPr>
        <p:spPr bwMode="auto">
          <a:xfrm>
            <a:off x="627063" y="647700"/>
            <a:ext cx="10929937" cy="5562600"/>
          </a:xfrm>
          <a:prstGeom prst="rect">
            <a:avLst/>
          </a:prstGeom>
          <a:gradFill flip="none" rotWithShape="1">
            <a:gsLst>
              <a:gs pos="45000">
                <a:schemeClr val="accent2">
                  <a:alpha val="36000"/>
                </a:schemeClr>
              </a:gs>
              <a:gs pos="100000">
                <a:srgbClr val="00F6FF"/>
              </a:gs>
              <a:gs pos="0">
                <a:schemeClr val="accent2">
                  <a:alpha val="56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7C6CED2-55A2-F179-4321-9EC646B482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64E2BBBC-80DF-5104-E076-20FB99B464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2E0E19A-C3CC-AE13-1EF9-7E889ADFCB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CD4D7A-E1F5-9D4D-D7A8-763291C906C5}"/>
              </a:ext>
            </a:extLst>
          </p:cNvPr>
          <p:cNvSpPr txBox="1"/>
          <p:nvPr userDrawn="1"/>
        </p:nvSpPr>
        <p:spPr>
          <a:xfrm>
            <a:off x="1066800" y="9855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0564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Section_Header_Coo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7C6CED2-55A2-F179-4321-9EC646B482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64E2BBBC-80DF-5104-E076-20FB99B464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2E0E19A-C3CC-AE13-1EF9-7E889ADFCB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CD4D7A-E1F5-9D4D-D7A8-763291C906C5}"/>
              </a:ext>
            </a:extLst>
          </p:cNvPr>
          <p:cNvSpPr txBox="1"/>
          <p:nvPr userDrawn="1"/>
        </p:nvSpPr>
        <p:spPr>
          <a:xfrm>
            <a:off x="1066800" y="9855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509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3" pos="408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667323A-6698-B4F8-D2C4-A0336BD7A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1092993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4BE38F8-DEB6-5998-7EB6-840C179B2E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654830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51F547D-7378-E8AC-FDF8-369B927915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1092993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BE70E68-FEAC-ABA3-6547-64F0048E25D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D31E73-37D8-3F34-976E-F45C7FEB48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211252"/>
            <a:ext cx="10929937" cy="48006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55433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913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1968918"/>
            <a:ext cx="10917926" cy="20313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6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ometimes You Want to Use a </a:t>
            </a:r>
            <a:br>
              <a:rPr lang="en-US"/>
            </a:br>
            <a:r>
              <a:rPr lang="en-US"/>
              <a:t>Subsection Divi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074" y="4784228"/>
            <a:ext cx="4757677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This slide can serve you well. It even has a space for a little something under the tit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074" y="107188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048DD2-9EC2-D0E6-390B-D6FEF7F7E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074" y="1563803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1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979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6096000" y="0"/>
            <a:ext cx="6096000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827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AAFA1B-F90B-A268-2F9C-CA4B17339CD9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81C1502-7D00-6809-E064-3AD5F4B76491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46B66AD-D607-C8A3-57EC-E66339B963F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7C0DA62-EC5A-3013-921C-9A16F87EFE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722843"/>
            <a:ext cx="3725863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200" b="1" spc="0">
                <a:solidFill>
                  <a:schemeClr val="tx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>
                <a:effectLst/>
              </a:rPr>
              <a:t>Title with Big and Little Typ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56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8E60C0F2-79B7-EE1B-6041-90317B3CB1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199D6FE-5F94-4710-8291-B343815879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3F08F0-0194-EA75-42BA-A0773D6D3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BCD999-82B2-EE7A-6B7F-62E9DF0FC3B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60BC1F9-F5BB-BACB-98D9-6B1EA76689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21A2213A-A5D0-F62A-BDB3-8BB538A65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00BD8D1-BEE3-CC7B-18BC-B2C6739412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893714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295A6AC-FD32-C87C-6A0D-33F65D81B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827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5209EB-D467-51AD-6222-93834EA8BF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75B6454-79A2-2746-023E-0F34DF1534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9294A11-D525-F9FD-CBCE-E94EB50BD92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722843"/>
            <a:ext cx="3725863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1" i="0" spc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Title with Big and Little Typ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2507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4383741" y="0"/>
            <a:ext cx="7808259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8263655-ECC2-257F-AD6E-E4540DE158C5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AC0358C-9119-8176-0FAF-2D0F448E696A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E8E6BB-7FFB-90B2-6C94-3C04A7140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FD4FCF7-37B3-4B6E-CA97-E77D60596E1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13001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643DA5-5C9F-C799-B890-61FDCC674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B2AFD80-10E1-6FE8-0BA3-7DB5BD0EF3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1336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505165-68F7-9306-9E47-08C7A533D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1D5A6C40-BA77-05F7-4448-95E3A5B805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90079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29200" y="922229"/>
            <a:ext cx="6527800" cy="47104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B3F49A-017D-C885-C56A-C3FBB74B0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0B97B73-9848-B399-89CA-F3A8272EAD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2562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_Lar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49" y="1762728"/>
            <a:ext cx="10434623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AC0EDD-AC36-F914-366E-69D6F90EE13C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23E1B07-F9BB-2FA8-4DF6-A285A2B35D36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1BB2CD-DBED-9BF2-22EE-06847388DA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E7FCFF33-D049-FF15-5CC0-4097F2EF3B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59851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7063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024673-46D9-F66F-D8AA-1868CFC21AC5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560B1A1-7081-6436-518E-306A74CAA7C5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7BAD15E-B7C3-EF9C-7FB3-73E703417C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E833662F-D4EC-7E5B-F24F-AC7D0C84BF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6608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33CF80-FFEB-A0A3-96C3-70C36A76E5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gradFill>
                  <a:gsLst>
                    <a:gs pos="0">
                      <a:schemeClr val="accent4"/>
                    </a:gs>
                    <a:gs pos="69000">
                      <a:schemeClr val="accent5"/>
                    </a:gs>
                    <a:gs pos="99000">
                      <a:schemeClr val="accent3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A8993B1-0A80-3A00-9ABA-D943C84F94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7063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0E8781-CC1D-4C98-DC9D-E92211A0FF40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EB90660-EDDB-AFF8-F760-00811B862BF3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F6D463D-6B94-0B73-6941-3200405EB1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FB280B8-B919-4994-C32C-9E2358C40D0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67956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9074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074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9074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C498510-4A43-03CD-36C1-2A8353B4C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A7FE39D-9B2F-3A82-4481-DEBB420622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B1168C-27E6-70A9-36C3-AE546E841C2A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D8F7163-12E6-F27D-EEBA-98BF26708D37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1A8FDC3-1268-C24A-5234-3DDF83EB1B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8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074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5AE9A1E-2209-0966-CD00-6DBDADBB1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9074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78C2"/>
                    </a:gs>
                    <a:gs pos="58000">
                      <a:srgbClr val="0047FF"/>
                    </a:gs>
                    <a:gs pos="91000">
                      <a:srgbClr val="8453D2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70C6AC1-AA2F-89B9-2D44-315F603238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9074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29FB170-8BDC-CF05-AC75-D03AEB2228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78C2"/>
                    </a:gs>
                    <a:gs pos="58000">
                      <a:srgbClr val="0047FF"/>
                    </a:gs>
                    <a:gs pos="91000">
                      <a:srgbClr val="8453D2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3F46C9-B563-1ABE-3DDB-DDB91319FF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3E0F55-2297-4649-F757-CAFDD1ABDBB0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5D602B7-0154-AEB7-239F-256AAF330C1E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020D3FD-5BB0-B0D6-A198-2CC86E6DA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690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7254E77-EA64-0D5B-1B56-09AF228EFA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41AD50E6-D58E-3D8C-41A0-48F21CC758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EC493A-D2B3-E243-2D3B-B6C3183A317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F48D13-7FE0-0CB2-89F9-E7AA85593DB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D221B2F-F01A-3D8B-58F3-2E0CD57769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5E154CAE-C4D8-C2A0-6BE8-461C3B8FA5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2DE92A-A744-9D66-5950-661ECF019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599866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3_Peopl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7063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7063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D64F61-C0FA-0C91-5963-6E2A72BAE0EC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3B925E-92C3-987F-0FC0-AE8EC43ABC33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539AA1-06E4-9967-8A01-AA1CC6BF55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E413724-DF6D-A95C-8C60-B1166F8320F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04627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_People_3_Peop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 flip="none" rotWithShape="1">
                  <a:gsLst>
                    <a:gs pos="0">
                      <a:srgbClr val="0078C2"/>
                    </a:gs>
                    <a:gs pos="58000">
                      <a:srgbClr val="0047FF"/>
                    </a:gs>
                    <a:gs pos="91000">
                      <a:srgbClr val="8453D2"/>
                    </a:gs>
                  </a:gsLst>
                  <a:lin ang="0" scaled="1"/>
                  <a:tileRect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7063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7063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78C2"/>
                    </a:gs>
                    <a:gs pos="58000">
                      <a:srgbClr val="0047FF"/>
                    </a:gs>
                    <a:gs pos="91000">
                      <a:srgbClr val="8453D2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78C2"/>
                    </a:gs>
                    <a:gs pos="58000">
                      <a:srgbClr val="0047FF"/>
                    </a:gs>
                    <a:gs pos="91000">
                      <a:srgbClr val="8453D2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487CB6C0-A169-C8C1-E769-E9DEDFE854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26436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43305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gradFill>
                  <a:gsLst>
                    <a:gs pos="0">
                      <a:schemeClr val="accent3"/>
                    </a:gs>
                    <a:gs pos="100000">
                      <a:schemeClr val="accent4"/>
                    </a:gs>
                    <a:gs pos="71000">
                      <a:schemeClr val="accent2"/>
                    </a:gs>
                  </a:gsLst>
                  <a:lin ang="36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accent3"/>
                </a:solidFill>
              </a:rPr>
              <a:t>“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4CE3CF-1C4D-3D01-143D-CF6CDCBD2F7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76968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_Bl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43305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“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DAE605C-196F-F337-1606-FFE4407B2E7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74460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m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27063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2EFE8D-5911-2CF9-B876-42825B8CB9A0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61EEB86-2BDF-0331-DAC7-4CB25CC0C311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10FC7E8-8650-C8C3-33C5-35DD5299DD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78226D6-C70F-7F41-A49D-D155A4650AC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8603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27063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“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00C373F2-39D4-5FF7-946C-A7DC7E1B466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17626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_Bl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27063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“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461A5100-8F72-3104-759D-00BAB367B1A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7063" y="419100"/>
            <a:ext cx="3725862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9626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mal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455701-65C9-97B2-64E0-82F53FA377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7063" y="1714501"/>
            <a:ext cx="10929937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93B36D-BA2E-1899-D9F4-FEAD1083B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063" y="2252472"/>
            <a:ext cx="10929937" cy="1136904"/>
          </a:xfrm>
          <a:prstGeom prst="rect">
            <a:avLst/>
          </a:prstGeom>
        </p:spPr>
        <p:txBody>
          <a:bodyPr/>
          <a:lstStyle>
            <a:lvl1pPr>
              <a:lnSpc>
                <a:spcPts val="1800"/>
              </a:lnSpc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bunch of type and don’t want to try too hard. Lorem ipsum diam fames </a:t>
            </a:r>
            <a:r>
              <a:rPr lang="en-US" err="1"/>
              <a:t>augue</a:t>
            </a:r>
            <a:r>
              <a:rPr lang="en-US"/>
              <a:t> in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porta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vestibulum </a:t>
            </a:r>
            <a:r>
              <a:rPr lang="en-US" err="1"/>
              <a:t>eu</a:t>
            </a:r>
            <a:r>
              <a:rPr lang="en-US"/>
              <a:t> ac integer, </a:t>
            </a:r>
            <a:r>
              <a:rPr lang="en-US" err="1"/>
              <a:t>tellus</a:t>
            </a:r>
            <a:r>
              <a:rPr lang="en-US"/>
              <a:t> pharetra </a:t>
            </a:r>
            <a:r>
              <a:rPr lang="en-US" err="1"/>
              <a:t>dictumst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 ad </a:t>
            </a:r>
            <a:r>
              <a:rPr lang="en-US" err="1"/>
              <a:t>facilisis</a:t>
            </a:r>
            <a:r>
              <a:rPr lang="en-US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12A43B-3D79-101B-16B9-5A730D078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1092993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96C36364-1C0F-5032-1D5A-5E78ECFC1A9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878454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27D5499-0685-B5EC-CFEF-2F1381E2A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1092993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2B72EAA-7B3A-08E8-5F97-A36DD17741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D597AFE-3DDF-B264-B83C-C62A3F7CCC9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9074" y="1714501"/>
            <a:ext cx="10929936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3962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2698291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D5963C9-D5D1-84E3-AF7B-5BFA6D21DC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9654" y="2698291"/>
            <a:ext cx="4648200" cy="177862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205CA7F-D6DB-04A0-EA4C-4787388D35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9654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195459-98D5-70AE-F6C8-404ED17C1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D0B98D6-1BB9-0645-823F-F8023687E2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08674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5381F3-7ADD-A798-2917-70C400E5FC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4668" y="2820541"/>
            <a:ext cx="4487332" cy="4037459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747460E-84D6-E4C7-66CE-0A88D0D3B7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4C926E2E-67D5-D03F-CAF1-D936DD3C0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0B9D3F-8FFD-EE49-3B30-05286E2EBB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69988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76440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76440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89970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89970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B69EF7-72B2-FCFD-0ECC-7F4C17CDD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ACA2232A-06BA-E2D6-78D5-5A9A152974F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53298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+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699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4DF3F84-AB7D-CCBF-CE9C-8622CDB3301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47699" y="1726692"/>
            <a:ext cx="3361476" cy="191719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5B9E3B6-606B-4386-3178-88031FBF9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69338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3A954E-DE2D-00F0-C4ED-0008C326EC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69338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97F8596-9B60-0E1E-695B-F159BEA9E3D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69338" y="1726692"/>
            <a:ext cx="3361476" cy="191719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BB6C83D-C556-0782-5061-97C7DD672F2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89452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D25C29-AD3E-1278-B083-FCE0D45401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9452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AB8C86-9C9A-0BF1-5545-731713F1DF9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89452" y="1726692"/>
            <a:ext cx="3361476" cy="191719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F62390F-72F1-C922-7F9E-6DFC27873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96BE69-A4A1-6C64-0D9F-D82B586976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47015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76440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76440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89970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89970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47700" y="2682874"/>
            <a:ext cx="3363468" cy="303517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1A63A-6B98-CD01-3B76-FD4065454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A99F9315-A799-3F47-73BC-70CF5B80EF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3527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7700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6132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6132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1028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1028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12478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2478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DC01C14-F2D7-2887-65D4-8963FDC75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1CA365A-97AE-4DC1-8A19-9188A1EF32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67285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8175" y="3188833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8175" y="3919032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8175" y="1517921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53384" y="3188833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3384" y="3919032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5D3BEB48-F134-5C30-6B6D-9CE9C41CC7F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453384" y="1517921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15634" y="3188833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5634" y="3919032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BA6217C-C15D-5705-1523-51C7EE9D274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215634" y="1517921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3188833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3919032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10FD9B17-7D3A-73D7-A51D-A3A5FF8DA3B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055608" y="1517921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8E4791D-EB66-3EB0-E97B-4F315F0E9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C796860-E80D-CE8C-2D2A-386FCE809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86750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0858E9A-CB5D-190B-E115-D040F11CFF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715475"/>
            <a:ext cx="1539899" cy="2848304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C072D8F-9413-C0EE-DD0E-94A9EA142E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6521" y="254643"/>
            <a:ext cx="1260401" cy="12604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142224-C073-C370-0170-EDFF722C3E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A91D11B-7EB1-78A8-25AB-EA33341C8B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2722549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60D353-A3AE-80DA-C3D7-A4CA5CCF32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363251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008583E0-4981-FCE6-CC7F-B562C4EAB0F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7151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1287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287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1586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1586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03488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3488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20660730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B84B59E6-DB3C-524C-C721-DF0AEF48CED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40E92CB-4429-D81E-AE0E-74FA641AF1D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A1F11A-7C19-9AF1-8D46-17DC6138F6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58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0FF0E1-8D9D-EEE3-60BA-CF73F351DF9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58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565875D-645C-4E8A-84A9-85DA3A7C6D3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970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06FED9F-44EA-A943-059C-C15E1B5FC8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970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8186489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1" y="1"/>
            <a:ext cx="611293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7" y="1"/>
            <a:ext cx="611293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084302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35273E55-8F47-AC18-08B7-C31C53E2A2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BBCDB36-A5F4-DF81-FE84-1CBB055082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36520FD8-AF16-A7D1-FBFD-C07B1B5276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EA145C4-F1AE-010B-FC94-C27466A66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480227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1287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287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1586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1586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03488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3488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564655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8CEB80F1-2238-7003-E60A-777E8870D8C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081F6261-AB67-5FCE-B3A8-35604F14E2A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960C74D-5AC8-20B0-B8EC-5A82F42EEBC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1E694EF9-63E8-2DD1-855D-8226F0B9D7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3662" y="523036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0AC54D94-5550-35E2-9CBB-6380D1A0559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366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1174A8AE-15FF-5BDD-7685-4FAF6EF23C5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5846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D7025AF-5AD5-E053-39A9-A1C9947284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5846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5C5A44C-A29D-3C27-3B25-9F14C1ECA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9706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BF15487-07BD-CB9A-E6A8-536C7BB5ED6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9706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57945060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" y="1"/>
            <a:ext cx="6117336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6" y="1"/>
            <a:ext cx="6117336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4027331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385887"/>
            <a:ext cx="3044952" cy="33432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39719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1287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287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000125"/>
            <a:ext cx="3044952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1586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1586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03488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3488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55619511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14713" y="1"/>
            <a:ext cx="5372099" cy="39719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803132" y="1000125"/>
            <a:ext cx="3388868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30688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30688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1771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1771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1000125"/>
            <a:ext cx="3388868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47120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0"/>
            <a:ext cx="7810500" cy="49445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381500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43796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55255" y="1819274"/>
            <a:ext cx="2616200" cy="26050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04812"/>
            <a:ext cx="3779476" cy="421005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758363" y="1484311"/>
            <a:ext cx="2329046" cy="26146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47234" y="893762"/>
            <a:ext cx="2835349" cy="37211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2323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2323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473845-42B3-319E-BAD5-25FF29ECDA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697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087191E-6D99-69DB-18A5-0987DC62F1F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697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536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536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86030341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4488"/>
            <a:ext cx="3357562" cy="280987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71874" y="404812"/>
            <a:ext cx="5100639" cy="421005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58250" y="893762"/>
            <a:ext cx="3333750" cy="35353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8673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673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15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15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89584304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248E6C1-AD8D-259C-5340-56A8EC44534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419100"/>
            <a:ext cx="7810500" cy="43730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9A18AC36-E872-0FBB-CCDF-E7487C47BE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114800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D4E9A13-72EC-7795-6682-8E9D5F8847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9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AE7E2F1-8A7E-2749-7C23-12A180BF0CB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9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629CAEA-5BAE-C2BF-C737-48B738207A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8F9ED73-42C5-93DF-AE80-AD7C5AF1BD6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62899415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14154" y="0"/>
            <a:ext cx="602208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Calibri" panose="020F0502020204030204" pitchFamily="34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55323" y="3152602"/>
            <a:ext cx="6858002" cy="55279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38414CD-ADEE-2A1C-3732-775C2F8A66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74" y="731520"/>
            <a:ext cx="455930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1E28BCD1-980E-222A-56FB-AF81B1AAA1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A13427F-499E-7243-A0B2-2CF497977B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10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1896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3285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64E8965-1EA8-8005-A909-76465BA4C0FB}"/>
              </a:ext>
            </a:extLst>
          </p:cNvPr>
          <p:cNvSpPr/>
          <p:nvPr userDrawn="1"/>
        </p:nvSpPr>
        <p:spPr bwMode="auto">
          <a:xfrm>
            <a:off x="9696450" y="0"/>
            <a:ext cx="24955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E50EB9-DDCB-6B82-90E6-D93EE59FCA97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BDD8D8-D17E-BFC0-ED6D-6E1D4A30B395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A5DA-E4C1-1856-5847-AE3486592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74" y="731520"/>
            <a:ext cx="455930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F691A2C-885A-0EB3-797C-EF58AD425A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722799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F79CFF-40BD-429D-B35C-552695FE8C5D}"/>
              </a:ext>
            </a:extLst>
          </p:cNvPr>
          <p:cNvSpPr/>
          <p:nvPr userDrawn="1"/>
        </p:nvSpPr>
        <p:spPr bwMode="auto">
          <a:xfrm>
            <a:off x="7832725" y="0"/>
            <a:ext cx="43592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1A98B3-DB51-25C7-9270-7820F6EA398D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D2C4444-E6DF-4B99-1941-139B63DFBEBB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0D51657-4E0D-F30E-9697-A8C29A986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74" y="731520"/>
            <a:ext cx="455930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D1B3AA5-C2D7-58A8-7EBE-6629FEA85E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439458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lvl="0"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802983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accent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accent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7D9537-B25D-7D96-9993-3FD73B2FDB2F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1EAE48-670D-1E75-E1E5-6E8259532FEE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6F59B46-0DE3-E568-233F-75A607AEE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74" y="731520"/>
            <a:ext cx="455930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7396B7B-5CA0-2575-EECE-9254812E7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4968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_Study_1/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E1AB88-4EAB-7302-D460-368C8A95B880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3BB7D0E-0360-1177-1B37-D40F98E8945C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806764-F53B-099D-08F4-9559CEC18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74" y="731520"/>
            <a:ext cx="455930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3281F56-5810-8527-EA21-EF9D06E82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13126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3FF4445-7E43-4943-6564-663F57E4686B}"/>
              </a:ext>
            </a:extLst>
          </p:cNvPr>
          <p:cNvSpPr/>
          <p:nvPr userDrawn="1"/>
        </p:nvSpPr>
        <p:spPr bwMode="auto">
          <a:xfrm>
            <a:off x="0" y="0"/>
            <a:ext cx="610552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BCB5CB-662F-D77E-B95C-6FAEB9F5B9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B9A991D-1B79-B376-3D76-EEC73A5EF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74" y="731520"/>
            <a:ext cx="455930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136083D7-1357-B3A0-B2CA-C5879573A1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7223513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0" y="0"/>
            <a:ext cx="3429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28999" y="0"/>
            <a:ext cx="8763001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215EAA-C348-C006-D714-D17F88664C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EB6FBC1-BEC1-A0F4-57EF-55F4857AB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731520"/>
            <a:ext cx="2542276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Title Goes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4D7C070-9D88-55A0-43C0-D19D134325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2542276" cy="2234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83306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815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89404C-9543-05AC-0FE7-5F45141B88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EE2443F-202F-9996-08A0-68D8B34EB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731520"/>
            <a:ext cx="2542276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Title Goes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5A952B7-2C29-CE80-75CE-F2ED96B638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2542276" cy="2234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69652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52926" y="0"/>
            <a:ext cx="783907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52925" y="0"/>
            <a:ext cx="7839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0445D59-5D09-D8C1-2EC1-A527181597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731520"/>
            <a:ext cx="2542276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Title Goes He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7EF2F3C-6015-6E2B-6FDD-5205793AA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2542276" cy="2234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909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12FD094-0794-063E-2B57-722EE39684F1}"/>
              </a:ext>
            </a:extLst>
          </p:cNvPr>
          <p:cNvSpPr/>
          <p:nvPr userDrawn="1"/>
        </p:nvSpPr>
        <p:spPr bwMode="auto">
          <a:xfrm>
            <a:off x="0" y="0"/>
            <a:ext cx="71437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633583-352F-F956-B6C1-9C86A76DE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CB865C5-5C2A-A194-F7E1-984E0B642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731520"/>
            <a:ext cx="2542276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Title Goes He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4D86B38F-89DD-F114-5F16-98FE8F50CA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2542276" cy="2234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5742563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9D2A7FA-64FE-D868-11A0-F061891C2469}"/>
              </a:ext>
            </a:extLst>
          </p:cNvPr>
          <p:cNvSpPr/>
          <p:nvPr userDrawn="1"/>
        </p:nvSpPr>
        <p:spPr bwMode="auto">
          <a:xfrm>
            <a:off x="0" y="0"/>
            <a:ext cx="2489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AF94430-52EF-289A-6B5B-96C63479C8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4641" y="1600200"/>
            <a:ext cx="4797425" cy="33855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2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9C365B7-BDA2-A1BA-99C3-FAE4F63E61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4641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lnSpc>
                <a:spcPts val="2400"/>
              </a:lnSpc>
              <a:defRPr sz="16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27BDED-D894-E63E-2F9E-832F391AA1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9104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55014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FD4578C-8BBA-DD7F-1D7F-67C3334C400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4896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dpi="0" rotWithShape="1">
          <a:blip r:embed="rId2" cstate="email">
            <a:alphaModFix amt="97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7E287B6-2821-6380-6538-D34B54990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731520"/>
            <a:ext cx="10917926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Title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01126A01-3EE7-5F33-DA74-B4FF2B18EB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074" y="419100"/>
            <a:ext cx="10917926" cy="2234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1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4948101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0">
                      <a:schemeClr val="accent3"/>
                    </a:gs>
                    <a:gs pos="55000">
                      <a:schemeClr val="accent2"/>
                    </a:gs>
                    <a:gs pos="100000">
                      <a:schemeClr val="accent4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530268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074" y="1035424"/>
            <a:ext cx="46482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7200" b="0" dirty="0">
                <a:gradFill>
                  <a:gsLst>
                    <a:gs pos="0">
                      <a:schemeClr val="accent3"/>
                    </a:gs>
                    <a:gs pos="55000">
                      <a:schemeClr val="accent2"/>
                    </a:gs>
                    <a:gs pos="100000">
                      <a:schemeClr val="accent4"/>
                    </a:gs>
                  </a:gsLst>
                  <a:lin ang="0" scaled="0"/>
                </a:gra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074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74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4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074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074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074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639074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390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1674905" y="5035401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D5434AD-5AC2-9852-2EE5-0B7825009419}"/>
              </a:ext>
            </a:extLst>
          </p:cNvPr>
          <p:cNvSpPr txBox="1"/>
          <p:nvPr userDrawn="1"/>
        </p:nvSpPr>
        <p:spPr>
          <a:xfrm>
            <a:off x="-914400" y="2743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385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1023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8008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5821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10515600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A3D84A-3A3E-A95D-16B1-DEAB594B0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374159C-7297-E470-BBCD-D20C41E7AF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743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ark"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25FA4B-8346-1D65-A1A6-BE46B3388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826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horter_Title_Half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040E1BA6-2B94-3FB9-8A61-22A11D25EDE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23008" y="0"/>
            <a:ext cx="6068992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DF60C00-4DF7-EA8B-64E5-6D8707C3F1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825" y="4670399"/>
            <a:ext cx="5151216" cy="37253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CED6F17-ABB3-3BF2-0943-BB3D363DB3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5185941" cy="2000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3242F72-C056-2877-37FC-0C0E8E2FA1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5825" y="1653938"/>
            <a:ext cx="5139642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Shor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237D0-4B7C-4C74-1B34-6585F8B84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817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BD2E969-F100-6B32-8DFD-11A45E5E4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67B491-F517-CB8D-96B1-B02A50D723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30FF820-B532-1296-E817-DF961B67D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54D4BD-6E7A-841D-F70C-31FAEF56CD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442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B4284D-C7B7-AF33-505C-3BCE70543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CBF3641-43B5-6FAC-E7AA-3C2E1B6868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2277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0512"/>
            <a:ext cx="359473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6051" y="154228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6051" y="223535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6051" y="291825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6051" y="361132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6051" y="4294232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6051" y="497713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98342" y="154228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8342" y="2235353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98342" y="291825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98342" y="361132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8342" y="4294232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8342" y="497713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522FB4-D05A-7BBC-4925-8F44384D8BAF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0435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43E4466-9172-11FF-B631-0772F610EC0A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73615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9B406A-62F3-7DD2-AFDA-098BD84DC9B8}"/>
              </a:ext>
            </a:extLst>
          </p:cNvPr>
          <p:cNvCxnSpPr>
            <a:cxnSpLocks/>
          </p:cNvCxnSpPr>
          <p:nvPr userDrawn="1"/>
        </p:nvCxnSpPr>
        <p:spPr>
          <a:xfrm>
            <a:off x="4828321" y="342873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12130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8138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828321" y="551146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8332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3882"/>
            <a:ext cx="3594735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6000" b="0" dirty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127679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821255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597093" y="551483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38260B-0DC8-F1D9-0A04-B34FD9548DDE}"/>
              </a:ext>
            </a:extLst>
          </p:cNvPr>
          <p:cNvCxnSpPr>
            <a:cxnSpLocks/>
          </p:cNvCxnSpPr>
          <p:nvPr userDrawn="1"/>
        </p:nvCxnSpPr>
        <p:spPr>
          <a:xfrm>
            <a:off x="4597093" y="3434103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4323139-2B65-F98E-4BA6-26EBD4E0A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4801" y="1544424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203F9BF-BF5F-6A91-5F78-9E13CFB346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8400" y="1544424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76CC08A-4820-35BC-92E1-8230BD9D36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14801" y="2237970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7291D4C-4D95-8F05-0F5C-BA39164C82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8400" y="2237970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6CEF688-2334-22F4-39C4-5CC9525BC5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14801" y="2931516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C7F5B96-F4B8-B78A-06A1-1387CE266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8400" y="2931516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F2D20F35-3DAA-AC00-0D89-CD5517054A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14801" y="3625062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CEC68D4-F109-8967-2138-7755BCDA7F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48400" y="3625062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D31E2A1-E7D9-C6E2-1CAD-132E8FC150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14801" y="4318608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FFDA3CA-2B8B-D638-20E4-71AC7A34D73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48400" y="4318608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57F9336-F799-453A-9AE4-57BF009F4E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14801" y="5012153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CF06D8-4539-871E-68C7-607E709243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8400" y="5012153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040C191-15FC-CC2A-76C6-F51F8764B2F0}"/>
              </a:ext>
            </a:extLst>
          </p:cNvPr>
          <p:cNvCxnSpPr>
            <a:cxnSpLocks/>
          </p:cNvCxnSpPr>
          <p:nvPr userDrawn="1"/>
        </p:nvCxnSpPr>
        <p:spPr>
          <a:xfrm>
            <a:off x="4597093" y="2740527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2D121A1-59B7-61ED-F9B5-D7F3CF3FA035}"/>
              </a:ext>
            </a:extLst>
          </p:cNvPr>
          <p:cNvCxnSpPr>
            <a:cxnSpLocks/>
          </p:cNvCxnSpPr>
          <p:nvPr userDrawn="1"/>
        </p:nvCxnSpPr>
        <p:spPr>
          <a:xfrm>
            <a:off x="4597094" y="204695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2672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Half_Pag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72483"/>
            <a:ext cx="3594735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93961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BFE2FC0-3FA5-A96D-8741-0967434C45D8}"/>
              </a:ext>
            </a:extLst>
          </p:cNvPr>
          <p:cNvSpPr/>
          <p:nvPr userDrawn="1"/>
        </p:nvSpPr>
        <p:spPr bwMode="auto">
          <a:xfrm>
            <a:off x="7006459" y="0"/>
            <a:ext cx="1507755" cy="1507755"/>
          </a:xfrm>
          <a:prstGeom prst="ellipse">
            <a:avLst/>
          </a:prstGeom>
          <a:solidFill>
            <a:srgbClr val="B896FF"/>
          </a:solidFill>
          <a:ln>
            <a:noFill/>
          </a:ln>
          <a:effectLst>
            <a:softEdge rad="50192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44D886A-7EE9-3D61-5350-BFDC9DEF77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560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90823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604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12699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202904" y="0"/>
            <a:ext cx="4989095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77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3CF198-2C15-1B0B-2941-6BA5258C3280}"/>
              </a:ext>
            </a:extLst>
          </p:cNvPr>
          <p:cNvSpPr/>
          <p:nvPr userDrawn="1"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2"/>
              </a:gs>
              <a:gs pos="17000">
                <a:schemeClr val="accent4">
                  <a:alpha val="79000"/>
                </a:schemeClr>
              </a:gs>
              <a:gs pos="37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83EE370-5755-0FBB-7D84-A96FB6BC63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90735A68-7AD1-6A4F-4FBB-D417739247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749C80-4012-9B9E-C0D6-07426A51EF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04B4EE-632B-DECA-21A7-CE4B30649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D4AEAE2-ED8B-F9AA-7FD1-83D75695B020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A49E1C-D7C7-5097-0968-F987FEF5622B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644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B8FFF1-7BEF-FB67-FD62-E5D324B98FDF}"/>
              </a:ext>
            </a:extLst>
          </p:cNvPr>
          <p:cNvSpPr/>
          <p:nvPr userDrawn="1"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6"/>
              </a:gs>
              <a:gs pos="17000">
                <a:schemeClr val="accent4">
                  <a:alpha val="79000"/>
                </a:schemeClr>
              </a:gs>
              <a:gs pos="38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1C718F0-D4A4-9872-BDD6-D7C7A94D7E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7C5E3EB5-098F-0D6A-8385-E69FD287B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F3FBB37-F96B-0FEB-0FAA-3A60AA0265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847CF6-2723-8A78-E571-E5E1D96EE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4B1EED2-CFE5-9449-1191-B818AA5450B2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005ECF6-ECEB-D7EC-6E6C-D560F76EDB1A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84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8C30E-9F31-D8F5-1E4D-396AE478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8C437B2-D94C-1848-2A24-39D1B91C9C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48822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0FA9B4-7015-F669-A684-04DBF3A80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77A3A7C-9EA1-F184-A7F0-65CDB16D77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C5FFC92-2965-BCAA-1CC8-1CF099E8A9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1211252"/>
            <a:ext cx="10896600" cy="48006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53960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336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300" y="1968918"/>
            <a:ext cx="10869110" cy="20313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ometimes You Want to Use a </a:t>
            </a:r>
            <a:br>
              <a:rPr lang="en-US"/>
            </a:br>
            <a:r>
              <a:rPr lang="en-US"/>
              <a:t>Subsection Divi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460" y="4784228"/>
            <a:ext cx="4757677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This slide can serve you well. It even has a space for a little something under the tit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3460" y="107188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gradFill>
                  <a:gsLst>
                    <a:gs pos="0">
                      <a:srgbClr val="00FFF0"/>
                    </a:gs>
                    <a:gs pos="44000">
                      <a:srgbClr val="00F6FF"/>
                    </a:gs>
                    <a:gs pos="75000">
                      <a:srgbClr val="B896FF"/>
                    </a:gs>
                  </a:gsLst>
                  <a:lin ang="1800000" scaled="0"/>
                </a:gra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048DD2-9EC2-D0E6-390B-D6FEF7F7E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460" y="1563803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6A3F60-C785-55F7-FFFA-6777E5B0CF19}"/>
              </a:ext>
            </a:extLst>
          </p:cNvPr>
          <p:cNvSpPr txBox="1"/>
          <p:nvPr userDrawn="1"/>
        </p:nvSpPr>
        <p:spPr>
          <a:xfrm>
            <a:off x="905069" y="647544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977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01790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6096000" y="0"/>
            <a:ext cx="6096000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540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6DF0B1-39A8-66D2-5901-784B6426A5BC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3F04122-42C2-36BC-47CE-0B679AD5BEF4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B58A26-A489-E0C7-76A6-353A0E98D08D}"/>
              </a:ext>
            </a:extLst>
          </p:cNvPr>
          <p:cNvSpPr txBox="1">
            <a:spLocks/>
          </p:cNvSpPr>
          <p:nvPr userDrawn="1"/>
        </p:nvSpPr>
        <p:spPr>
          <a:xfrm>
            <a:off x="633632" y="722842"/>
            <a:ext cx="5341718" cy="3439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Title Goes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4550C39-4E9B-6498-10DD-2EE07D4692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94910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295A6AC-FD32-C87C-6A0D-33F65D81B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B35227-E4B8-E7D7-CFC8-BEC6F4696E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59128"/>
            <a:ext cx="495300" cy="182096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98434BA-C643-9226-9074-622A044FDF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71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89EA330-0A46-587B-303A-AB9292370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713" y="722843"/>
            <a:ext cx="3759901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1" i="0" spc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Title with Big and Little Typ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97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4383741" y="0"/>
            <a:ext cx="7808259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7A3697B-75D8-F270-FA16-FF1CAED387B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A88C32-A814-A30F-E410-D8FFB09D466B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B55100E-75B5-2C7B-2A86-042FF5C3AF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FFDB60C-4B68-3EAD-E6FA-B4039FD58A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04729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627D40C-5450-0B96-10EC-7A6EB8067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4D7BC14-B8F4-8C70-3780-52E71B389E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78527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DE52C79-B543-C221-B6BE-B72B78C48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0A19AA13-C08A-D0E6-EC94-5A71061E59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07158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03930C0-6C91-A5B6-792F-04CF2D36D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15DEBE63-B16C-3AD7-6270-ECA63D2CC6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1036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_Lar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rgbClr val="000000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4199F3-8BE2-BBEA-427A-5AD0BBF888B3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DB76AC-B244-C159-B205-D8B830CCA43A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714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F093B7-84AC-4D63-2502-6D71BFDF8DB8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4F95B6-7091-82B3-BCAB-D9319A03C7C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14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33CF80-FFEB-A0A3-96C3-70C36A76E5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gradFill>
                  <a:gsLst>
                    <a:gs pos="0">
                      <a:srgbClr val="00F6FF"/>
                    </a:gs>
                    <a:gs pos="57000">
                      <a:srgbClr val="00FFF0"/>
                    </a:gs>
                    <a:gs pos="100000">
                      <a:srgbClr val="B896FF"/>
                    </a:gs>
                  </a:gsLst>
                  <a:lin ang="36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A8993B1-0A80-3A00-9ABA-D943C84F94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EB0807-0658-010A-4800-47A758C6FB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8BD8A55-0F08-8A7E-D808-C2A3A3FF7E9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F63EE3-B677-73F5-4D60-6EEFC0FE2006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993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C498510-4A43-03CD-36C1-2A8353B4C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A7FE39D-9B2F-3A82-4481-DEBB420622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99B77B-934C-404B-9904-C2D7E70C8905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1BBAC43-9697-89D1-1C2F-02929E0454D3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779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640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5AE9A1E-2209-0966-CD00-6DBDADBB1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70C6AC1-AA2F-89B9-2D44-315F603238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29FB170-8BDC-CF05-AC75-D03AEB2228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3F46C9-B563-1ABE-3DDB-DDB91319FF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903792-0661-4AB0-55E4-3A640B87ED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702D3-DFB2-CABB-A601-21371216F8D5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878B45B-DA79-15A1-EC93-AADC579ADA4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250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3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1ABE214-CBB4-3A34-095A-0370A5C4AF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1FF2075-AD33-0E1E-1658-146B3E4E2FCC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040519E-0144-D61F-8E0C-52A5A9F6F1D7}"/>
              </a:ext>
            </a:extLst>
          </p:cNvPr>
          <p:cNvSpPr txBox="1">
            <a:spLocks/>
          </p:cNvSpPr>
          <p:nvPr userDrawn="1"/>
        </p:nvSpPr>
        <p:spPr>
          <a:xfrm>
            <a:off x="113290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68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3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 flip="none" rotWithShape="1"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1"/>
                  <a:tileRect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B18FCDA-6157-DD00-EDF9-0F787E8060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FD6A39-8EF9-9CA0-AA7E-45DB798A90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2309E2-3B1E-50D2-B2BC-867833D702D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8E22721-BCDB-A1E7-59E5-A4DE62992615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14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33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128867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828281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ma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8DEA029-C2BF-93AE-56B7-39E611F58B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6F9EF5-29E8-93D3-E218-354474130A6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E1A170-BC35-F789-C222-B52ABECE94F7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FEC108-AFBF-BADD-5D48-8FC6C3718F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820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694427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7698538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mal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455701-65C9-97B2-64E0-82F53FA377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14501"/>
            <a:ext cx="10896600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93B36D-BA2E-1899-D9F4-FEAD1083B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252472"/>
            <a:ext cx="10896600" cy="1136904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bunch of type and don’t want to try too hard. Lorem ipsum diam fames </a:t>
            </a:r>
            <a:r>
              <a:rPr lang="en-US" err="1"/>
              <a:t>augue</a:t>
            </a:r>
            <a:r>
              <a:rPr lang="en-US"/>
              <a:t> in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porta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vestibulum </a:t>
            </a:r>
            <a:r>
              <a:rPr lang="en-US" err="1"/>
              <a:t>eu</a:t>
            </a:r>
            <a:r>
              <a:rPr lang="en-US"/>
              <a:t> ac integer, </a:t>
            </a:r>
            <a:r>
              <a:rPr lang="en-US" err="1"/>
              <a:t>tellus</a:t>
            </a:r>
            <a:r>
              <a:rPr lang="en-US"/>
              <a:t> pharetra </a:t>
            </a:r>
            <a:r>
              <a:rPr lang="en-US" err="1"/>
              <a:t>dictumst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 ad </a:t>
            </a:r>
            <a:r>
              <a:rPr lang="en-US" err="1"/>
              <a:t>facilisis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7BD50B6-BCAD-6C1D-94E4-391D6EFE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8B922CD-AA98-19C2-F226-24D0CD58A7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74097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-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959DAE7-B533-7C26-06A9-299565EE08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1448687"/>
            <a:ext cx="10877993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AC9E8CA-88FF-A7D0-4471-3E5178A6D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5A5532C-1A44-601F-63DE-35FE9E5CCF9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88625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A4049EA-1C80-CEF2-C39E-9249C1D29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0101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D5963C9-D5D1-84E3-AF7B-5BFA6D21DC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2784" y="2698291"/>
            <a:ext cx="4648200" cy="177862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205CA7F-D6DB-04A0-EA4C-4787388D35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2784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148D1E8-D0B5-5F4B-AE07-155B7CAD8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789B724-DDDF-4B41-E38D-8AA4A3E54FE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17407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9C198DC-372C-F60D-2583-3EEDD5323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8380D62-CB6C-B373-E0E2-D002F4BD4C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69976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+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4DF3F84-AB7D-CCBF-CE9C-8622CDB3301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5B9E3B6-606B-4386-3178-88031FBF9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5217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3A954E-DE2D-00F0-C4ED-0008C326EC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95217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97F8596-9B60-0E1E-695B-F159BEA9E3D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95216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BB6C83D-C556-0782-5061-97C7DD672F2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41209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D25C29-AD3E-1278-B083-FCE0D45401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41209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AB8C86-9C9A-0BF1-5545-731713F1DF9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41208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A73F49-D1D2-3CD7-931A-C196B52C79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51B6335-94C2-4FFE-338B-28D29593A57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0812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2682874"/>
            <a:ext cx="3363468" cy="303517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2B70457-B389-D08A-D7A4-A322C74C9D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35E41E-9E5E-2B45-2AC0-EB66F1702E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65460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533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33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27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727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7CED83E-2EFF-B95A-4339-1971DE1A2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163DC51-3FE7-871F-8D9B-C299CFC5F2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3704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1757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757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1757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4150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4150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5D3BEB48-F134-5C30-6B6D-9CE9C41CC7F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44150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3715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3715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BA6217C-C15D-5705-1523-51C7EE9D274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23715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10FD9B17-7D3A-73D7-A51D-A3A5FF8DA3B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055608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F9BFC9F-EE6C-AEB4-97F1-A5CE2C4BA2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7669829-F3A9-621E-9905-791E46E27B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81683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Purple Blur&#10;">
            <a:extLst>
              <a:ext uri="{FF2B5EF4-FFF2-40B4-BE49-F238E27FC236}">
                <a16:creationId xmlns:a16="http://schemas.microsoft.com/office/drawing/2014/main" id="{20858E9A-CB5D-190B-E115-D040F11CFF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60136"/>
            <a:ext cx="1488559" cy="2713074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21" name="Picture 20" descr="Purple blur&#10;">
            <a:extLst>
              <a:ext uri="{FF2B5EF4-FFF2-40B4-BE49-F238E27FC236}">
                <a16:creationId xmlns:a16="http://schemas.microsoft.com/office/drawing/2014/main" id="{FC072D8F-9413-C0EE-DD0E-94A9EA142E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9200" y="0"/>
            <a:ext cx="1260401" cy="1260401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D6477BC-51B4-390A-0147-95CB7052C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15F930C-ED21-E214-FA54-5737DC2413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2254205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75F403F-1791-E454-1EF7-19537E5F0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D955803-2C5C-0B5F-11E5-5F0FBB37EA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381424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1287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287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1586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1586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03488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3488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73091166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B84B59E6-DB3C-524C-C721-DF0AEF48CED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40E92CB-4429-D81E-AE0E-74FA641AF1D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A1F11A-7C19-9AF1-8D46-17DC6138F6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58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0FF0E1-8D9D-EEE3-60BA-CF73F351DF9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58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565875D-645C-4E8A-84A9-85DA3A7C6D3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970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06FED9F-44EA-A943-059C-C15E1B5FC8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970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807951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D2FFF58-70EB-C86F-9E59-1581F18B87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FF9120F-E29C-8B3A-D5EB-E673F7B24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8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A6D870D-A9F4-488C-8ECB-5016711134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98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31172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1" y="1"/>
            <a:ext cx="6112933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7" y="1"/>
            <a:ext cx="6112933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53783969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823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823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163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163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5401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5401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5515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5515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93953458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8CEB80F1-2238-7003-E60A-777E8870D8C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081F6261-AB67-5FCE-B3A8-35604F14E2A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960C74D-5AC8-20B0-B8EC-5A82F42EEBC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1E694EF9-63E8-2DD1-855D-8226F0B9D7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2582" y="523036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0AC54D94-5550-35E2-9CBB-6380D1A0559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25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1174A8AE-15FF-5BDD-7685-4FAF6EF23C5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7673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D7025AF-5AD5-E053-39A9-A1C9947284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73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5C5A44C-A29D-3C27-3B25-9F14C1ECA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059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BF15487-07BD-CB9A-E6A8-536C7BB5ED6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059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06412256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" y="1"/>
            <a:ext cx="6117336" cy="472744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6" y="1"/>
            <a:ext cx="6117336" cy="472744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54072221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385887"/>
            <a:ext cx="3044952" cy="334327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397192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564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564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33267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33267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000125"/>
            <a:ext cx="3044952" cy="334670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784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784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05468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905468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067455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14713" y="1"/>
            <a:ext cx="5372099" cy="397192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803132" y="1000125"/>
            <a:ext cx="3388868" cy="334670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25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625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21751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21751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1000125"/>
            <a:ext cx="3388868" cy="334670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19841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0"/>
            <a:ext cx="7810500" cy="494453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381500" cy="334670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0781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55255" y="1819274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04812"/>
            <a:ext cx="3779476" cy="421005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758363" y="1484311"/>
            <a:ext cx="2329046" cy="261461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47234" y="893762"/>
            <a:ext cx="2835349" cy="37211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2323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2323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473845-42B3-319E-BAD5-25FF29ECDA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697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087191E-6D99-69DB-18A5-0987DC62F1F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697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536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536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6104236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4488"/>
            <a:ext cx="3357562" cy="280987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71874" y="404812"/>
            <a:ext cx="5100639" cy="421005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58250" y="893762"/>
            <a:ext cx="3333750" cy="35353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8673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673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15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15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05479810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248E6C1-AD8D-259C-5340-56A8EC44534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419100"/>
            <a:ext cx="7810500" cy="437303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9A18AC36-E872-0FBB-CCDF-E7487C47BE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114800" cy="334670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D4E9A13-72EC-7795-6682-8E9D5F8847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9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AE7E2F1-8A7E-2749-7C23-12A180BF0CB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9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629CAEA-5BAE-C2BF-C737-48B738207A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8F9ED73-42C5-93DF-AE80-AD7C5AF1BD6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9162299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-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7891C23-3EE8-0CED-28FE-170D18A2D615}"/>
              </a:ext>
            </a:extLst>
          </p:cNvPr>
          <p:cNvGrpSpPr/>
          <p:nvPr userDrawn="1"/>
        </p:nvGrpSpPr>
        <p:grpSpPr>
          <a:xfrm>
            <a:off x="3909694" y="-2"/>
            <a:ext cx="4653972" cy="6858002"/>
            <a:chOff x="3300840" y="-2"/>
            <a:chExt cx="4653972" cy="6858002"/>
          </a:xfrm>
          <a:solidFill>
            <a:schemeClr val="bg1">
              <a:lumMod val="95000"/>
            </a:schemeClr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4E5E53-9F1A-D61C-9EEB-E1510482E5BF}"/>
                </a:ext>
              </a:extLst>
            </p:cNvPr>
            <p:cNvSpPr/>
            <p:nvPr userDrawn="1"/>
          </p:nvSpPr>
          <p:spPr bwMode="auto">
            <a:xfrm>
              <a:off x="3300840" y="0"/>
              <a:ext cx="4110732" cy="68580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rtlCol="0" anchor="ctr"/>
            <a:lstStyle/>
            <a:p>
              <a:pPr algn="ctr"/>
              <a:endParaRPr lang="en-US" sz="2400" err="1">
                <a:solidFill>
                  <a:schemeClr val="bg1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endParaRPr>
            </a:p>
          </p:txBody>
        </p:sp>
        <p:sp>
          <p:nvSpPr>
            <p:cNvPr id="13" name="Isosceles Triangle 13">
              <a:extLst>
                <a:ext uri="{FF2B5EF4-FFF2-40B4-BE49-F238E27FC236}">
                  <a16:creationId xmlns:a16="http://schemas.microsoft.com/office/drawing/2014/main" id="{DF41968F-990C-67B1-0475-04E0249E281A}"/>
                </a:ext>
              </a:extLst>
            </p:cNvPr>
            <p:cNvSpPr/>
            <p:nvPr userDrawn="1"/>
          </p:nvSpPr>
          <p:spPr>
            <a:xfrm rot="5400000" flipH="1">
              <a:off x="4249415" y="3152602"/>
              <a:ext cx="6858002" cy="552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1" y="0"/>
            <a:ext cx="407670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936060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0E4AD9-5B60-F04F-FEE1-80647A0EA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189EAA6-8653-D9C5-4653-C4B7BB2BB3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977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C24334-259C-B34A-CF0B-6328CEB75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34EEC63-D2A6-A479-4356-E9E6BC1909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B2245E5-D2EB-1450-FEC1-6BEFE1F76A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76583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9D76B9-5EAA-9E63-4059-21E83CD46A10}"/>
              </a:ext>
            </a:extLst>
          </p:cNvPr>
          <p:cNvSpPr/>
          <p:nvPr userDrawn="1"/>
        </p:nvSpPr>
        <p:spPr bwMode="auto">
          <a:xfrm>
            <a:off x="975360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2DA15A-8BB1-B824-E7EF-8D9046513FB2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9A158B8-5C5D-7C73-B048-F98B170D7851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773BA-924B-BAC6-7D25-ED7A9338BD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83976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2B58C1F-15E1-403E-C8DD-FB7FA7791D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83976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7401169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43804D-BD14-08D3-2752-570DB2A13AC1}"/>
              </a:ext>
            </a:extLst>
          </p:cNvPr>
          <p:cNvSpPr/>
          <p:nvPr userDrawn="1"/>
        </p:nvSpPr>
        <p:spPr bwMode="auto">
          <a:xfrm>
            <a:off x="7848600" y="0"/>
            <a:ext cx="434826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3E35CB-4416-67B4-9A4B-0412315D4979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B57818-3DD1-DA7E-0C01-8FA58F5B3AE9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3EB2ABD-8C1A-2F57-ED12-4A5372D24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6522818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CBC5A8B-D655-9D1E-4EAD-6B7EF3CBD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6522818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0819115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802983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7D9537-B25D-7D96-9993-3FD73B2FDB2F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1EAE48-670D-1E75-E1E5-6E8259532FEE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04B8001-80C4-3060-BD6B-437632BF7C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C73C2D60-2316-60E7-7382-870EBF68A7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0841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CF38BD-32C9-894D-AB81-415CC476E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A8AE99-B517-8AEB-D5E4-B09D52CA25AF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120F32B-02B9-F0A1-D25E-DE2CDA7F43C0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1749E3-2785-6125-72F4-4CB2CF388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8F30B81-156F-78DF-062D-E4DD7907F0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404058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81500" y="0"/>
            <a:ext cx="78104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0"/>
            <a:ext cx="78105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76621A-DBD8-0204-830A-B611F2C50DB3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F4A5E9B-ED60-9026-0304-CC0E0C50B0BB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A259D8-8F7C-0047-F26B-69BFCE9B0D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477993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524263F-D90D-573F-672D-5622B33EAD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3477993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5861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52DE14-65C1-7956-7013-27CD9E260F56}"/>
              </a:ext>
            </a:extLst>
          </p:cNvPr>
          <p:cNvSpPr/>
          <p:nvPr userDrawn="1"/>
        </p:nvSpPr>
        <p:spPr bwMode="auto">
          <a:xfrm>
            <a:off x="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9C365B7-BDA2-A1BA-99C3-FAE4F63E61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5652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9CE349-346A-D8D6-57AD-5723D88B67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51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9E35029-5964-C030-FE93-F157EF1D672E}"/>
              </a:ext>
            </a:extLst>
          </p:cNvPr>
          <p:cNvSpPr txBox="1">
            <a:spLocks/>
          </p:cNvSpPr>
          <p:nvPr userDrawn="1"/>
        </p:nvSpPr>
        <p:spPr>
          <a:xfrm>
            <a:off x="4365652" y="1688770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200" b="1" i="0" spc="0" dirty="0">
                <a:gradFill>
                  <a:gsLst>
                    <a:gs pos="0">
                      <a:schemeClr val="accent3"/>
                    </a:gs>
                    <a:gs pos="45000">
                      <a:schemeClr val="accent3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9961866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0" y="0"/>
            <a:ext cx="3429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29000" y="0"/>
            <a:ext cx="876300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CC0D0B5-8985-C0CF-E031-72C099F136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44169FF-3519-85C9-0F2D-26C1E7EAB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2618014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E92AB95-E16F-C12B-B3CB-DCDED8BB72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2618014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38341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54513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D0723C-92A3-529E-5B7C-80EDBC2622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80312C7-4EE9-90CF-47E1-087BF0744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1B4920DC-0C83-DBD1-A7BA-450D741C9E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2844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CA393A3-BED5-A4B8-2CC9-68028E8F7DD4}"/>
              </a:ext>
            </a:extLst>
          </p:cNvPr>
          <p:cNvSpPr/>
          <p:nvPr userDrawn="1"/>
        </p:nvSpPr>
        <p:spPr bwMode="auto">
          <a:xfrm>
            <a:off x="0" y="0"/>
            <a:ext cx="715645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B52ADC-08BB-44B3-7F3D-505CD63B75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73605A9-1E62-45FD-73A7-1EA66A44C7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0308101-6824-4317-B732-39B094E4FA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087732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631513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FD4578C-8BBA-DD7F-1D7F-67C3334C400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26352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4939770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136282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240803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900448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5139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035424"/>
            <a:ext cx="46482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7200" b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7700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700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00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700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7700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647700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758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912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5821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10515600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A3D84A-3A3E-A95D-16B1-DEAB594B0B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374159C-7297-E470-BBCD-D20C41E7AF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1684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Dark"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25FA4B-8346-1D65-A1A6-BE46B3388E8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799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0FD50C-06F7-21CC-1F6A-D75586A5063A}"/>
              </a:ext>
            </a:extLst>
          </p:cNvPr>
          <p:cNvSpPr/>
          <p:nvPr userDrawn="1"/>
        </p:nvSpPr>
        <p:spPr bwMode="auto">
          <a:xfrm>
            <a:off x="5166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6866651-9DE6-3C00-E38E-CCE80D6049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367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991B0C-C540-A449-1C7D-F3AE627558A1}"/>
              </a:ext>
            </a:extLst>
          </p:cNvPr>
          <p:cNvSpPr txBox="1"/>
          <p:nvPr userDrawn="1"/>
        </p:nvSpPr>
        <p:spPr>
          <a:xfrm>
            <a:off x="10054041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382AE5-9D01-6839-5979-7A3921E0574F}"/>
              </a:ext>
            </a:extLst>
          </p:cNvPr>
          <p:cNvSpPr txBox="1">
            <a:spLocks/>
          </p:cNvSpPr>
          <p:nvPr userDrawn="1"/>
        </p:nvSpPr>
        <p:spPr>
          <a:xfrm>
            <a:off x="11503260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251973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Shorter_Title_Half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040E1BA6-2B94-3FB9-8A61-22A11D25EDE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23008" y="0"/>
            <a:ext cx="606899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DF60C00-4DF7-EA8B-64E5-6D8707C3F1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825" y="4670399"/>
            <a:ext cx="5151216" cy="37253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CED6F17-ABB3-3BF2-0943-BB3D363DB3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5185941" cy="2000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3242F72-C056-2877-37FC-0C0E8E2FA1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5825" y="1653938"/>
            <a:ext cx="5139642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Shor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237D0-4B7C-4C74-1B34-6585F8B84C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75949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0512"/>
            <a:ext cx="359473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6051" y="154228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6051" y="223535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6051" y="291825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6051" y="361132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6051" y="4294232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6051" y="497713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98342" y="154228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8342" y="2235353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98342" y="291825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98342" y="361132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8342" y="4294232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8342" y="497713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522FB4-D05A-7BBC-4925-8F44384D8BAF}"/>
              </a:ext>
            </a:extLst>
          </p:cNvPr>
          <p:cNvCxnSpPr>
            <a:cxnSpLocks/>
          </p:cNvCxnSpPr>
          <p:nvPr/>
        </p:nvCxnSpPr>
        <p:spPr>
          <a:xfrm>
            <a:off x="4828321" y="20435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43E4466-9172-11FF-B631-0772F610EC0A}"/>
              </a:ext>
            </a:extLst>
          </p:cNvPr>
          <p:cNvCxnSpPr>
            <a:cxnSpLocks/>
          </p:cNvCxnSpPr>
          <p:nvPr/>
        </p:nvCxnSpPr>
        <p:spPr>
          <a:xfrm>
            <a:off x="4828321" y="273615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9B406A-62F3-7DD2-AFDA-098BD84DC9B8}"/>
              </a:ext>
            </a:extLst>
          </p:cNvPr>
          <p:cNvCxnSpPr>
            <a:cxnSpLocks/>
          </p:cNvCxnSpPr>
          <p:nvPr/>
        </p:nvCxnSpPr>
        <p:spPr>
          <a:xfrm>
            <a:off x="4828321" y="342873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/>
        </p:nvCxnSpPr>
        <p:spPr>
          <a:xfrm>
            <a:off x="4828321" y="412130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/>
        </p:nvCxnSpPr>
        <p:spPr>
          <a:xfrm>
            <a:off x="4828321" y="48138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/>
        </p:nvCxnSpPr>
        <p:spPr>
          <a:xfrm>
            <a:off x="4828321" y="551146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2582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3882"/>
            <a:ext cx="3594735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6000" b="0" dirty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/>
        </p:nvCxnSpPr>
        <p:spPr>
          <a:xfrm>
            <a:off x="4597093" y="4127679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/>
        </p:nvCxnSpPr>
        <p:spPr>
          <a:xfrm>
            <a:off x="4597093" y="4821255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/>
        </p:nvCxnSpPr>
        <p:spPr>
          <a:xfrm>
            <a:off x="4597093" y="551483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38260B-0DC8-F1D9-0A04-B34FD9548DDE}"/>
              </a:ext>
            </a:extLst>
          </p:cNvPr>
          <p:cNvCxnSpPr>
            <a:cxnSpLocks/>
          </p:cNvCxnSpPr>
          <p:nvPr/>
        </p:nvCxnSpPr>
        <p:spPr>
          <a:xfrm>
            <a:off x="4597093" y="3434103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4323139-2B65-F98E-4BA6-26EBD4E0A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4801" y="1544424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203F9BF-BF5F-6A91-5F78-9E13CFB346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8400" y="1544424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76CC08A-4820-35BC-92E1-8230BD9D36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14801" y="2237970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7291D4C-4D95-8F05-0F5C-BA39164C82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8400" y="2237970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6CEF688-2334-22F4-39C4-5CC9525BC5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14801" y="2931516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C7F5B96-F4B8-B78A-06A1-1387CE266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8400" y="2931516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F2D20F35-3DAA-AC00-0D89-CD5517054A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14801" y="3625062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CEC68D4-F109-8967-2138-7755BCDA7F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48400" y="3625062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D31E2A1-E7D9-C6E2-1CAD-132E8FC150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14801" y="4318608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FFDA3CA-2B8B-D638-20E4-71AC7A34D73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48400" y="4318608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57F9336-F799-453A-9AE4-57BF009F4E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14801" y="5012153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CF06D8-4539-871E-68C7-607E709243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8400" y="5012153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040C191-15FC-CC2A-76C6-F51F8764B2F0}"/>
              </a:ext>
            </a:extLst>
          </p:cNvPr>
          <p:cNvCxnSpPr>
            <a:cxnSpLocks/>
          </p:cNvCxnSpPr>
          <p:nvPr/>
        </p:nvCxnSpPr>
        <p:spPr>
          <a:xfrm>
            <a:off x="4597093" y="2740527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2D121A1-59B7-61ED-F9B5-D7F3CF3FA035}"/>
              </a:ext>
            </a:extLst>
          </p:cNvPr>
          <p:cNvCxnSpPr>
            <a:cxnSpLocks/>
          </p:cNvCxnSpPr>
          <p:nvPr/>
        </p:nvCxnSpPr>
        <p:spPr>
          <a:xfrm>
            <a:off x="4597094" y="204695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951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Header_Half_Pag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72483"/>
            <a:ext cx="3594735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93961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BFE2FC0-3FA5-A96D-8741-0967434C45D8}"/>
              </a:ext>
            </a:extLst>
          </p:cNvPr>
          <p:cNvSpPr/>
          <p:nvPr/>
        </p:nvSpPr>
        <p:spPr bwMode="auto">
          <a:xfrm>
            <a:off x="7006459" y="0"/>
            <a:ext cx="1507755" cy="1507755"/>
          </a:xfrm>
          <a:prstGeom prst="ellipse">
            <a:avLst/>
          </a:prstGeom>
          <a:solidFill>
            <a:srgbClr val="B896FF"/>
          </a:solidFill>
          <a:ln>
            <a:noFill/>
          </a:ln>
          <a:effectLst>
            <a:softEdge rad="50192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44D886A-7EE9-3D61-5350-BFDC9DEF77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560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872941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Hea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604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12699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202904" y="0"/>
            <a:ext cx="4989095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92502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3CF198-2C15-1B0B-2941-6BA5258C3280}"/>
              </a:ext>
            </a:extLst>
          </p:cNvPr>
          <p:cNvSpPr/>
          <p:nvPr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2"/>
              </a:gs>
              <a:gs pos="17000">
                <a:schemeClr val="accent4">
                  <a:alpha val="79000"/>
                </a:schemeClr>
              </a:gs>
              <a:gs pos="37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83EE370-5755-0FBB-7D84-A96FB6BC63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90735A68-7AD1-6A4F-4FBB-D417739247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749C80-4012-9B9E-C0D6-07426A51EF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04B4EE-632B-DECA-21A7-CE4B30649E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D4AEAE2-ED8B-F9AA-7FD1-83D75695B020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A49E1C-D7C7-5097-0968-F987FEF5622B}"/>
              </a:ext>
            </a:extLst>
          </p:cNvPr>
          <p:cNvSpPr txBox="1">
            <a:spLocks/>
          </p:cNvSpPr>
          <p:nvPr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628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B8FFF1-7BEF-FB67-FD62-E5D324B98FDF}"/>
              </a:ext>
            </a:extLst>
          </p:cNvPr>
          <p:cNvSpPr/>
          <p:nvPr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6"/>
              </a:gs>
              <a:gs pos="17000">
                <a:schemeClr val="accent4">
                  <a:alpha val="79000"/>
                </a:schemeClr>
              </a:gs>
              <a:gs pos="38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1C718F0-D4A4-9872-BDD6-D7C7A94D7E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7C5E3EB5-098F-0D6A-8385-E69FD287B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F3FBB37-F96B-0FEB-0FAA-3A60AA0265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847CF6-2723-8A78-E571-E5E1D96EE7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4B1EED2-CFE5-9449-1191-B818AA5450B2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005ECF6-ECEB-D7EC-6E6C-D560F76EDB1A}"/>
              </a:ext>
            </a:extLst>
          </p:cNvPr>
          <p:cNvSpPr txBox="1">
            <a:spLocks/>
          </p:cNvSpPr>
          <p:nvPr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898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8C30E-9F31-D8F5-1E4D-396AE478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8C437B2-D94C-1848-2A24-39D1B91C9C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67115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0FA9B4-7015-F669-A684-04DBF3A80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77A3A7C-9EA1-F184-A7F0-65CDB16D77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C5FFC92-2965-BCAA-1CC8-1CF099E8A9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1211252"/>
            <a:ext cx="10896600" cy="48006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86039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1428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136148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300" y="1968918"/>
            <a:ext cx="10869110" cy="20313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ometimes You Want to Use a </a:t>
            </a:r>
            <a:br>
              <a:rPr lang="en-US"/>
            </a:br>
            <a:r>
              <a:rPr lang="en-US"/>
              <a:t>Subsection Divi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460" y="4784228"/>
            <a:ext cx="4757677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This slide can serve you well. It even has a space for a little something under the tit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3460" y="107188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gradFill>
                  <a:gsLst>
                    <a:gs pos="0">
                      <a:srgbClr val="00FFF0"/>
                    </a:gs>
                    <a:gs pos="44000">
                      <a:srgbClr val="00F6FF"/>
                    </a:gs>
                    <a:gs pos="75000">
                      <a:srgbClr val="B896FF"/>
                    </a:gs>
                  </a:gsLst>
                  <a:lin ang="1800000" scaled="0"/>
                </a:gra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048DD2-9EC2-D0E6-390B-D6FEF7F7E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460" y="1563803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6A3F60-C785-55F7-FFFA-6777E5B0CF19}"/>
              </a:ext>
            </a:extLst>
          </p:cNvPr>
          <p:cNvSpPr txBox="1"/>
          <p:nvPr/>
        </p:nvSpPr>
        <p:spPr>
          <a:xfrm>
            <a:off x="905069" y="647544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024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_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/>
        </p:nvSpPr>
        <p:spPr bwMode="auto">
          <a:xfrm>
            <a:off x="6096000" y="0"/>
            <a:ext cx="6096000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540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6DF0B1-39A8-66D2-5901-784B6426A5BC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3F04122-42C2-36BC-47CE-0B679AD5BEF4}"/>
              </a:ext>
            </a:extLst>
          </p:cNvPr>
          <p:cNvSpPr txBox="1">
            <a:spLocks/>
          </p:cNvSpPr>
          <p:nvPr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B58A26-A489-E0C7-76A6-353A0E98D08D}"/>
              </a:ext>
            </a:extLst>
          </p:cNvPr>
          <p:cNvSpPr txBox="1">
            <a:spLocks/>
          </p:cNvSpPr>
          <p:nvPr/>
        </p:nvSpPr>
        <p:spPr>
          <a:xfrm>
            <a:off x="633632" y="722842"/>
            <a:ext cx="5341718" cy="3439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Title Goes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4550C39-4E9B-6498-10DD-2EE07D4692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45564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_Tex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295A6AC-FD32-C87C-6A0D-33F65D81BF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B35227-E4B8-E7D7-CFC8-BEC6F4696E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59128"/>
            <a:ext cx="495300" cy="182096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98434BA-C643-9226-9074-622A044FDF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71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89EA330-0A46-587B-303A-AB9292370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713" y="722843"/>
            <a:ext cx="3759901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1" i="0" spc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Title with Big and Little Typ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885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e+2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/>
        </p:nvSpPr>
        <p:spPr bwMode="auto">
          <a:xfrm>
            <a:off x="4383741" y="0"/>
            <a:ext cx="7808259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7A3697B-75D8-F270-FA16-FF1CAED387BA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A88C32-A814-A30F-E410-D8FFB09D466B}"/>
              </a:ext>
            </a:extLst>
          </p:cNvPr>
          <p:cNvSpPr txBox="1">
            <a:spLocks/>
          </p:cNvSpPr>
          <p:nvPr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B55100E-75B5-2C7B-2A86-042FF5C3AF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FFDB60C-4B68-3EAD-E6FA-B4039FD58A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1638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e+2_photos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627D40C-5450-0B96-10EC-7A6EB8067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4D7BC14-B8F4-8C70-3780-52E71B389E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01765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e+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DE52C79-B543-C221-B6BE-B72B78C48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0A19AA13-C08A-D0E6-EC94-5A71061E59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80398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pe+1_Photo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03930C0-6C91-A5B6-792F-04CF2D36D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15DEBE63-B16C-3AD7-6270-ECA63D2CC6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78752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_Lar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rgbClr val="000000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4199F3-8BE2-BBEA-427A-5AD0BBF888B3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DB76AC-B244-C159-B205-D8B830CCA43A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776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_People_1_Pers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F093B7-84AC-4D63-2502-6D71BFDF8DB8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4F95B6-7091-82B3-BCAB-D9319A03C7CC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262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_People_1_Person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33CF80-FFEB-A0A3-96C3-70C36A76E5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gradFill>
                  <a:gsLst>
                    <a:gs pos="0">
                      <a:srgbClr val="00F6FF"/>
                    </a:gs>
                    <a:gs pos="57000">
                      <a:srgbClr val="00FFF0"/>
                    </a:gs>
                    <a:gs pos="100000">
                      <a:srgbClr val="B896FF"/>
                    </a:gs>
                  </a:gsLst>
                  <a:lin ang="36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A8993B1-0A80-3A00-9ABA-D943C84F94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EB0807-0658-010A-4800-47A758C6FB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8BD8A55-0F08-8A7E-D808-C2A3A3FF7E91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F63EE3-B677-73F5-4D60-6EEFC0FE2006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521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F441E88-7FE8-D22E-100F-B090659320A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FA5AB7F-48A8-2636-3278-4702BB8C57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B4A2EA-2922-26E5-D797-A05E70DB9B02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C8D5290-AB1A-98C0-647E-05F429722D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96079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_People_2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C498510-4A43-03CD-36C1-2A8353B4C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A7FE39D-9B2F-3A82-4481-DEBB420622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99B77B-934C-404B-9904-C2D7E70C8905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1BBAC43-9697-89D1-1C2F-02929E0454D3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797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_People_2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5AE9A1E-2209-0966-CD00-6DBDADBB1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70C6AC1-AA2F-89B9-2D44-315F603238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29FB170-8BDC-CF05-AC75-D03AEB2228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3F46C9-B563-1ABE-3DDB-DDB91319FF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903792-0661-4AB0-55E4-3A640B87EDF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702D3-DFB2-CABB-A601-21371216F8D5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878B45B-DA79-15A1-EC93-AADC579ADA4C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960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_People_3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1ABE214-CBB4-3A34-095A-0370A5C4AF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1FF2075-AD33-0E1E-1658-146B3E4E2FCC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040519E-0144-D61F-8E0C-52A5A9F6F1D7}"/>
              </a:ext>
            </a:extLst>
          </p:cNvPr>
          <p:cNvSpPr txBox="1">
            <a:spLocks/>
          </p:cNvSpPr>
          <p:nvPr/>
        </p:nvSpPr>
        <p:spPr>
          <a:xfrm>
            <a:off x="113290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441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r_People_3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 flip="none" rotWithShape="1"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1"/>
                  <a:tileRect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B18FCDA-6157-DD00-EDF9-0F787E8060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FD6A39-8EF9-9CA0-AA7E-45DB798A90B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2309E2-3B1E-50D2-B2BC-867833D702DA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8E22721-BCDB-A1E7-59E5-A4DE62992615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886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Lar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33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200085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Lar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450691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+Ima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8DEA029-C2BF-93AE-56B7-39E611F58B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6F9EF5-29E8-93D3-E218-354474130A6A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E1A170-BC35-F789-C222-B52ABECE94F7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FEC108-AFBF-BADD-5D48-8FC6C3718F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78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+Ima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901833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+Ima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54763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Smal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455701-65C9-97B2-64E0-82F53FA377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14501"/>
            <a:ext cx="10896600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93B36D-BA2E-1899-D9F4-FEAD1083B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252472"/>
            <a:ext cx="10896600" cy="1136904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bunch of type and don’t want to try too hard. Lorem ipsum diam fames </a:t>
            </a:r>
            <a:r>
              <a:rPr lang="en-US" err="1"/>
              <a:t>augue</a:t>
            </a:r>
            <a:r>
              <a:rPr lang="en-US"/>
              <a:t> in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porta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vestibulum </a:t>
            </a:r>
            <a:r>
              <a:rPr lang="en-US" err="1"/>
              <a:t>eu</a:t>
            </a:r>
            <a:r>
              <a:rPr lang="en-US"/>
              <a:t> ac integer, </a:t>
            </a:r>
            <a:r>
              <a:rPr lang="en-US" err="1"/>
              <a:t>tellus</a:t>
            </a:r>
            <a:r>
              <a:rPr lang="en-US"/>
              <a:t> pharetra </a:t>
            </a:r>
            <a:r>
              <a:rPr lang="en-US" err="1"/>
              <a:t>dictumst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 ad </a:t>
            </a:r>
            <a:r>
              <a:rPr lang="en-US" err="1"/>
              <a:t>facilisis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7BD50B6-BCAD-6C1D-94E4-391D6EFE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8B922CD-AA98-19C2-F226-24D0CD58A7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63897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0094E5E-6EFF-CE7E-D775-2FA95EEE2F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309027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E632B84-D810-D682-26F1-538579099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30902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6BD730-15BB-8DAE-B807-85A733E0F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531163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229A6F-36FA-05D5-E223-1581D31CE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0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302297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kern="800" cap="none" spc="13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302297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kern="800" cap="none" spc="13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532947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Subtitle-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959DAE7-B533-7C26-06A9-299565EE08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1448687"/>
            <a:ext cx="10877993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AC9E8CA-88FF-A7D0-4471-3E5178A6D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5A5532C-1A44-601F-63DE-35FE9E5CCF9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8713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D5963C9-D5D1-84E3-AF7B-5BFA6D21DC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2784" y="2698291"/>
            <a:ext cx="4648200" cy="177862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205CA7F-D6DB-04A0-EA4C-4787388D35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2784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148D1E8-D0B5-5F4B-AE07-155B7CAD8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789B724-DDDF-4B41-E38D-8AA4A3E54FE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1917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9C198DC-372C-F60D-2583-3EEDD5323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8380D62-CB6C-B373-E0E2-D002F4BD4C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3872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+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4DF3F84-AB7D-CCBF-CE9C-8622CDB3301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5B9E3B6-606B-4386-3178-88031FBF9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5217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3A954E-DE2D-00F0-C4ED-0008C326EC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95217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97F8596-9B60-0E1E-695B-F159BEA9E3D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95216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BB6C83D-C556-0782-5061-97C7DD672F2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41209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D25C29-AD3E-1278-B083-FCE0D45401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41209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AB8C86-9C9A-0BF1-5545-731713F1DF9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41208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A73F49-D1D2-3CD7-931A-C196B52C79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51B6335-94C2-4FFE-338B-28D29593A57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80570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2682874"/>
            <a:ext cx="3363468" cy="30351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2B70457-B389-D08A-D7A4-A322C74C9D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35E41E-9E5E-2B45-2AC0-EB66F1702E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30641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533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33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27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727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7CED83E-2EFF-B95A-4339-1971DE1A2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163DC51-3FE7-871F-8D9B-C299CFC5F2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9328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1757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757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1757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4150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4150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5D3BEB48-F134-5C30-6B6D-9CE9C41CC7F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44150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3715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3715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BA6217C-C15D-5705-1523-51C7EE9D274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23715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10FD9B17-7D3A-73D7-A51D-A3A5FF8DA3B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055608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F9BFC9F-EE6C-AEB4-97F1-A5CE2C4BA2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7669829-F3A9-621E-9905-791E46E27B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56057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s_varied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Purple Blur&#10;">
            <a:extLst>
              <a:ext uri="{FF2B5EF4-FFF2-40B4-BE49-F238E27FC236}">
                <a16:creationId xmlns:a16="http://schemas.microsoft.com/office/drawing/2014/main" id="{20858E9A-CB5D-190B-E115-D040F11CFFA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60136"/>
            <a:ext cx="1488559" cy="2713074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1" name="Picture 20" descr="Purple blur&#10;">
            <a:extLst>
              <a:ext uri="{FF2B5EF4-FFF2-40B4-BE49-F238E27FC236}">
                <a16:creationId xmlns:a16="http://schemas.microsoft.com/office/drawing/2014/main" id="{FC072D8F-9413-C0EE-DD0E-94A9EA142EC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9200" y="0"/>
            <a:ext cx="1260401" cy="1260401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D6477BC-51B4-390A-0147-95CB7052C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15F930C-ED21-E214-FA54-5737DC2413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6048618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s_vari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75F403F-1791-E454-1EF7-19537E5F0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D955803-2C5C-0B5F-11E5-5F0FBB37EA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3097404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1287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287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1586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1586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03488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3488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8944188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6C5343-68AD-9879-2727-7ECBCB6A1B23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EF0FAA-381C-3A89-42AF-830EF59119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56236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24921F-F7DB-7A40-465F-85F610FC20C6}"/>
              </a:ext>
            </a:extLst>
          </p:cNvPr>
          <p:cNvSpPr txBox="1"/>
          <p:nvPr userDrawn="1"/>
        </p:nvSpPr>
        <p:spPr>
          <a:xfrm>
            <a:off x="10048875" y="6423925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F018D9-6B5F-8BCB-BD75-7816BF58C56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23926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408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B84B59E6-DB3C-524C-C721-DF0AEF48CED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40E92CB-4429-D81E-AE0E-74FA641AF1D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A1F11A-7C19-9AF1-8D46-17DC6138F6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58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0FF0E1-8D9D-EEE3-60BA-CF73F351DF9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58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565875D-645C-4E8A-84A9-85DA3A7C6D3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970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06FED9F-44EA-A943-059C-C15E1B5FC8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970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82176578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1" y="1"/>
            <a:ext cx="611293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7" y="1"/>
            <a:ext cx="611293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2473827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823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823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163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163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5401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5401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5515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5515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87832200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8CEB80F1-2238-7003-E60A-777E8870D8C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081F6261-AB67-5FCE-B3A8-35604F14E2A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960C74D-5AC8-20B0-B8EC-5A82F42EEBC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1E694EF9-63E8-2DD1-855D-8226F0B9D7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2582" y="523036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0AC54D94-5550-35E2-9CBB-6380D1A0559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25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1174A8AE-15FF-5BDD-7685-4FAF6EF23C5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7673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D7025AF-5AD5-E053-39A9-A1C9947284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73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5C5A44C-A29D-3C27-3B25-9F14C1ECA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059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BF15487-07BD-CB9A-E6A8-536C7BB5ED6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059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19692815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" y="1"/>
            <a:ext cx="6117336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6" y="1"/>
            <a:ext cx="6117336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6715122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385887"/>
            <a:ext cx="3044952" cy="3343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39719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564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564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33267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33267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000125"/>
            <a:ext cx="3044952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784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784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05468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905468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27958308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14713" y="1"/>
            <a:ext cx="5372099" cy="39719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803132" y="1000125"/>
            <a:ext cx="3388868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25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625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21751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21751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1000125"/>
            <a:ext cx="3388868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225672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0"/>
            <a:ext cx="7810500" cy="49445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381500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3020287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55255" y="1819274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04812"/>
            <a:ext cx="3779476" cy="42100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758363" y="1484311"/>
            <a:ext cx="2329046" cy="2614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47234" y="893762"/>
            <a:ext cx="2835349" cy="37211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2323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2323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473845-42B3-319E-BAD5-25FF29ECDA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697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087191E-6D99-69DB-18A5-0987DC62F1F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697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536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536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17022837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4488"/>
            <a:ext cx="3357562" cy="280987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71874" y="404812"/>
            <a:ext cx="5100639" cy="42100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58250" y="893762"/>
            <a:ext cx="3333750" cy="35353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8673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673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15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15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9709337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0C5E2-D359-5FED-B284-19CF47A41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A60CDFE-3A94-5F3A-0523-ABA5607800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7052EF-2C83-09DE-9638-F3492217FF7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7612B5-8615-3AC0-8239-012312B6FD9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4050477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248E6C1-AD8D-259C-5340-56A8EC44534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419100"/>
            <a:ext cx="7810500" cy="43730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9A18AC36-E872-0FBB-CCDF-E7487C47BE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114800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D4E9A13-72EC-7795-6682-8E9D5F8847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9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AE7E2F1-8A7E-2749-7C23-12A180BF0CB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9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629CAEA-5BAE-C2BF-C737-48B738207A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8F9ED73-42C5-93DF-AE80-AD7C5AF1BD6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0008217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C24334-259C-B34A-CF0B-6328CEB75E7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34EEC63-D2A6-A479-4356-E9E6BC1909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B2245E5-D2EB-1450-FEC1-6BEFE1F76A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5119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9D76B9-5EAA-9E63-4059-21E83CD46A10}"/>
              </a:ext>
            </a:extLst>
          </p:cNvPr>
          <p:cNvSpPr/>
          <p:nvPr/>
        </p:nvSpPr>
        <p:spPr bwMode="auto">
          <a:xfrm>
            <a:off x="975360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2DA15A-8BB1-B824-E7EF-8D9046513FB2}"/>
              </a:ext>
            </a:extLst>
          </p:cNvPr>
          <p:cNvSpPr txBox="1"/>
          <p:nvPr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9A158B8-5C5D-7C73-B048-F98B170D7851}"/>
              </a:ext>
            </a:extLst>
          </p:cNvPr>
          <p:cNvSpPr txBox="1">
            <a:spLocks/>
          </p:cNvSpPr>
          <p:nvPr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773BA-924B-BAC6-7D25-ED7A9338BD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83976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2B58C1F-15E1-403E-C8DD-FB7FA7791D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83976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960526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43804D-BD14-08D3-2752-570DB2A13AC1}"/>
              </a:ext>
            </a:extLst>
          </p:cNvPr>
          <p:cNvSpPr/>
          <p:nvPr/>
        </p:nvSpPr>
        <p:spPr bwMode="auto">
          <a:xfrm>
            <a:off x="7848600" y="0"/>
            <a:ext cx="434826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3E35CB-4416-67B4-9A4B-0412315D4979}"/>
              </a:ext>
            </a:extLst>
          </p:cNvPr>
          <p:cNvSpPr txBox="1"/>
          <p:nvPr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B57818-3DD1-DA7E-0C01-8FA58F5B3AE9}"/>
              </a:ext>
            </a:extLst>
          </p:cNvPr>
          <p:cNvSpPr txBox="1">
            <a:spLocks/>
          </p:cNvSpPr>
          <p:nvPr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3EB2ABD-8C1A-2F57-ED12-4A5372D24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6522818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CBC5A8B-D655-9D1E-4EAD-6B7EF3CBD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6522818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1288402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802983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7D9537-B25D-7D96-9993-3FD73B2FDB2F}"/>
              </a:ext>
            </a:extLst>
          </p:cNvPr>
          <p:cNvSpPr txBox="1"/>
          <p:nvPr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1EAE48-670D-1E75-E1E5-6E8259532FEE}"/>
              </a:ext>
            </a:extLst>
          </p:cNvPr>
          <p:cNvSpPr txBox="1">
            <a:spLocks/>
          </p:cNvSpPr>
          <p:nvPr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04B8001-80C4-3060-BD6B-437632BF7C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C73C2D60-2316-60E7-7382-870EBF68A7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6662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CF38BD-32C9-894D-AB81-415CC476E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A8AE99-B517-8AEB-D5E4-B09D52CA25AF}"/>
              </a:ext>
            </a:extLst>
          </p:cNvPr>
          <p:cNvSpPr txBox="1"/>
          <p:nvPr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120F32B-02B9-F0A1-D25E-DE2CDA7F43C0}"/>
              </a:ext>
            </a:extLst>
          </p:cNvPr>
          <p:cNvSpPr txBox="1">
            <a:spLocks/>
          </p:cNvSpPr>
          <p:nvPr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1749E3-2785-6125-72F4-4CB2CF388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8F30B81-156F-78DF-062D-E4DD7907F0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05770030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/>
        </p:nvSpPr>
        <p:spPr bwMode="auto">
          <a:xfrm>
            <a:off x="4381500" y="0"/>
            <a:ext cx="78104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0"/>
            <a:ext cx="78105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76621A-DBD8-0204-830A-B611F2C50DB3}"/>
              </a:ext>
            </a:extLst>
          </p:cNvPr>
          <p:cNvSpPr txBox="1"/>
          <p:nvPr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F4A5E9B-ED60-9026-0304-CC0E0C50B0BB}"/>
              </a:ext>
            </a:extLst>
          </p:cNvPr>
          <p:cNvSpPr txBox="1">
            <a:spLocks/>
          </p:cNvSpPr>
          <p:nvPr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A259D8-8F7C-0047-F26B-69BFCE9B0D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477993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524263F-D90D-573F-672D-5622B33EAD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3477993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38844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52DE14-65C1-7956-7013-27CD9E260F56}"/>
              </a:ext>
            </a:extLst>
          </p:cNvPr>
          <p:cNvSpPr/>
          <p:nvPr/>
        </p:nvSpPr>
        <p:spPr bwMode="auto">
          <a:xfrm>
            <a:off x="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9C365B7-BDA2-A1BA-99C3-FAE4F63E61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5652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9CE349-346A-D8D6-57AD-5723D88B67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51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9E35029-5964-C030-FE93-F157EF1D672E}"/>
              </a:ext>
            </a:extLst>
          </p:cNvPr>
          <p:cNvSpPr txBox="1">
            <a:spLocks/>
          </p:cNvSpPr>
          <p:nvPr/>
        </p:nvSpPr>
        <p:spPr>
          <a:xfrm>
            <a:off x="4365652" y="1688770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200" b="1" i="0" spc="0" dirty="0">
                <a:gradFill>
                  <a:gsLst>
                    <a:gs pos="0">
                      <a:schemeClr val="accent3"/>
                    </a:gs>
                    <a:gs pos="45000">
                      <a:schemeClr val="accent3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0022567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0" y="0"/>
            <a:ext cx="3429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29000" y="0"/>
            <a:ext cx="8763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CC0D0B5-8985-C0CF-E031-72C099F136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44169FF-3519-85C9-0F2D-26C1E7EAB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2618014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E92AB95-E16F-C12B-B3CB-DCDED8BB72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2618014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33305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4354513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D0723C-92A3-529E-5B7C-80EDBC2622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80312C7-4EE9-90CF-47E1-087BF0744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1B4920DC-0C83-DBD1-A7BA-450D741C9E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26635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2960BA-AA0C-9715-43A2-22B9050A4780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1783F67-AD13-06FC-C79E-DE6FBF4D05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F414E4-F961-7DD4-8CFB-7B93DD10B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2BE525B-A1C0-1DD5-E075-79F96E71ED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7A229-8E7F-A1E8-7492-218AEFB06B0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1751A4-BF09-09F2-77C6-42F2F2AEB24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748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_Mockup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CA393A3-BED5-A4B8-2CC9-68028E8F7DD4}"/>
              </a:ext>
            </a:extLst>
          </p:cNvPr>
          <p:cNvSpPr/>
          <p:nvPr/>
        </p:nvSpPr>
        <p:spPr bwMode="auto">
          <a:xfrm>
            <a:off x="0" y="0"/>
            <a:ext cx="715645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B52ADC-08BB-44B3-7F3D-505CD63B753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73605A9-1E62-45FD-73A7-1EA66A44C7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0308101-6824-4317-B732-39B094E4FA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5398872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FD4578C-8BBA-DD7F-1D7F-67C3334C400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1216001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284774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60663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351416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333784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099805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035424"/>
            <a:ext cx="46482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7200" b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7700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700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00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700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7700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/>
        </p:nvCxnSpPr>
        <p:spPr>
          <a:xfrm>
            <a:off x="647700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317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_Photo_+_Caption_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08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3041" y="651002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583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442592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810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5821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10515600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A3D84A-3A3E-A95D-16B1-DEAB594B0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374159C-7297-E470-BBCD-D20C41E7AF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40693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ark"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25FA4B-8346-1D65-A1A6-BE46B3388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977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horter_Title_Half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040E1BA6-2B94-3FB9-8A61-22A11D25EDE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23008" y="0"/>
            <a:ext cx="606899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DF60C00-4DF7-EA8B-64E5-6D8707C3F1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825" y="4670399"/>
            <a:ext cx="5151216" cy="37253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CED6F17-ABB3-3BF2-0943-BB3D363DB3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5185941" cy="2000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3242F72-C056-2877-37FC-0C0E8E2FA1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5825" y="1653938"/>
            <a:ext cx="5139642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Shor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237D0-4B7C-4C74-1B34-6585F8B84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74496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0512"/>
            <a:ext cx="359473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6051" y="154228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6051" y="223535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6051" y="291825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6051" y="361132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6051" y="4294232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6051" y="497713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98342" y="154228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8342" y="2235353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98342" y="291825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98342" y="361132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8342" y="4294232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8342" y="497713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522FB4-D05A-7BBC-4925-8F44384D8BAF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0435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43E4466-9172-11FF-B631-0772F610EC0A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73615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9B406A-62F3-7DD2-AFDA-098BD84DC9B8}"/>
              </a:ext>
            </a:extLst>
          </p:cNvPr>
          <p:cNvCxnSpPr>
            <a:cxnSpLocks/>
          </p:cNvCxnSpPr>
          <p:nvPr userDrawn="1"/>
        </p:nvCxnSpPr>
        <p:spPr>
          <a:xfrm>
            <a:off x="4828321" y="342873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12130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8138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828321" y="551146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9563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3882"/>
            <a:ext cx="3594735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6000" b="0" dirty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127679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821255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597093" y="551483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38260B-0DC8-F1D9-0A04-B34FD9548DDE}"/>
              </a:ext>
            </a:extLst>
          </p:cNvPr>
          <p:cNvCxnSpPr>
            <a:cxnSpLocks/>
          </p:cNvCxnSpPr>
          <p:nvPr userDrawn="1"/>
        </p:nvCxnSpPr>
        <p:spPr>
          <a:xfrm>
            <a:off x="4597093" y="3434103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4323139-2B65-F98E-4BA6-26EBD4E0A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4801" y="1544424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203F9BF-BF5F-6A91-5F78-9E13CFB346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8400" y="1544424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76CC08A-4820-35BC-92E1-8230BD9D36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14801" y="2237970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7291D4C-4D95-8F05-0F5C-BA39164C82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8400" y="2237970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6CEF688-2334-22F4-39C4-5CC9525BC5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14801" y="2931516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C7F5B96-F4B8-B78A-06A1-1387CE266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8400" y="2931516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F2D20F35-3DAA-AC00-0D89-CD5517054A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14801" y="3625062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CEC68D4-F109-8967-2138-7755BCDA7F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48400" y="3625062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D31E2A1-E7D9-C6E2-1CAD-132E8FC150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14801" y="4318608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FFDA3CA-2B8B-D638-20E4-71AC7A34D73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48400" y="4318608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57F9336-F799-453A-9AE4-57BF009F4E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14801" y="5012153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CF06D8-4539-871E-68C7-607E709243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8400" y="5012153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040C191-15FC-CC2A-76C6-F51F8764B2F0}"/>
              </a:ext>
            </a:extLst>
          </p:cNvPr>
          <p:cNvCxnSpPr>
            <a:cxnSpLocks/>
          </p:cNvCxnSpPr>
          <p:nvPr userDrawn="1"/>
        </p:nvCxnSpPr>
        <p:spPr>
          <a:xfrm>
            <a:off x="4597093" y="2740527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2D121A1-59B7-61ED-F9B5-D7F3CF3FA035}"/>
              </a:ext>
            </a:extLst>
          </p:cNvPr>
          <p:cNvCxnSpPr>
            <a:cxnSpLocks/>
          </p:cNvCxnSpPr>
          <p:nvPr userDrawn="1"/>
        </p:nvCxnSpPr>
        <p:spPr>
          <a:xfrm>
            <a:off x="4597094" y="204695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7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Half_Pag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72483"/>
            <a:ext cx="3594735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93961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BFE2FC0-3FA5-A96D-8741-0967434C45D8}"/>
              </a:ext>
            </a:extLst>
          </p:cNvPr>
          <p:cNvSpPr/>
          <p:nvPr userDrawn="1"/>
        </p:nvSpPr>
        <p:spPr bwMode="auto">
          <a:xfrm>
            <a:off x="7006459" y="0"/>
            <a:ext cx="1507755" cy="1507755"/>
          </a:xfrm>
          <a:prstGeom prst="ellipse">
            <a:avLst/>
          </a:prstGeom>
          <a:solidFill>
            <a:srgbClr val="B896FF"/>
          </a:solidFill>
          <a:ln>
            <a:noFill/>
          </a:ln>
          <a:effectLst>
            <a:softEdge rad="501929"/>
          </a:effectLst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44D886A-7EE9-3D61-5350-BFDC9DEF77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560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908687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604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12699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202904" y="0"/>
            <a:ext cx="4989095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3680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3CF198-2C15-1B0B-2941-6BA5258C3280}"/>
              </a:ext>
            </a:extLst>
          </p:cNvPr>
          <p:cNvSpPr/>
          <p:nvPr userDrawn="1"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2"/>
              </a:gs>
              <a:gs pos="17000">
                <a:schemeClr val="accent4">
                  <a:alpha val="79000"/>
                </a:schemeClr>
              </a:gs>
              <a:gs pos="37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83EE370-5755-0FBB-7D84-A96FB6BC63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90735A68-7AD1-6A4F-4FBB-D417739247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749C80-4012-9B9E-C0D6-07426A51EF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04B4EE-632B-DECA-21A7-CE4B30649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D4AEAE2-ED8B-F9AA-7FD1-83D75695B020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A49E1C-D7C7-5097-0968-F987FEF5622B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280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B8FFF1-7BEF-FB67-FD62-E5D324B98FDF}"/>
              </a:ext>
            </a:extLst>
          </p:cNvPr>
          <p:cNvSpPr/>
          <p:nvPr userDrawn="1"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6"/>
              </a:gs>
              <a:gs pos="17000">
                <a:schemeClr val="accent4">
                  <a:alpha val="79000"/>
                </a:schemeClr>
              </a:gs>
              <a:gs pos="38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1C718F0-D4A4-9872-BDD6-D7C7A94D7E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7C5E3EB5-098F-0D6A-8385-E69FD287B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F3FBB37-F96B-0FEB-0FAA-3A60AA0265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847CF6-2723-8A78-E571-E5E1D96EE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4B1EED2-CFE5-9449-1191-B818AA5450B2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005ECF6-ECEB-D7EC-6E6C-D560F76EDB1A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111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463925-928E-4FE1-B9E5-B83141A2C221}"/>
              </a:ext>
            </a:extLst>
          </p:cNvPr>
          <p:cNvSpPr/>
          <p:nvPr userDrawn="1"/>
        </p:nvSpPr>
        <p:spPr bwMode="auto">
          <a:xfrm>
            <a:off x="-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69AD5E-5F94-E6C0-0DB3-77E8A5A0D3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3DBF0C-CA25-003D-B5D8-6EE24C1F808C}"/>
              </a:ext>
            </a:extLst>
          </p:cNvPr>
          <p:cNvSpPr txBox="1"/>
          <p:nvPr userDrawn="1"/>
        </p:nvSpPr>
        <p:spPr>
          <a:xfrm>
            <a:off x="10048874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97B36E0-E687-34C7-ACB3-F681FF77C582}"/>
              </a:ext>
            </a:extLst>
          </p:cNvPr>
          <p:cNvSpPr txBox="1">
            <a:spLocks/>
          </p:cNvSpPr>
          <p:nvPr userDrawn="1"/>
        </p:nvSpPr>
        <p:spPr>
          <a:xfrm>
            <a:off x="11498093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609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8C30E-9F31-D8F5-1E4D-396AE478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8C437B2-D94C-1848-2A24-39D1B91C9C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10712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0FA9B4-7015-F669-A684-04DBF3A80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77A3A7C-9EA1-F184-A7F0-65CDB16D77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C5FFC92-2965-BCAA-1CC8-1CF099E8A9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1211252"/>
            <a:ext cx="10896600" cy="48006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3019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5747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300" y="1968918"/>
            <a:ext cx="10869110" cy="20313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ometimes You Want to Use a </a:t>
            </a:r>
            <a:br>
              <a:rPr lang="en-US"/>
            </a:br>
            <a:r>
              <a:rPr lang="en-US"/>
              <a:t>Subsection Divi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460" y="4784228"/>
            <a:ext cx="4757677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This slide can serve you well. It even has a space for a little something under the tit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3460" y="107188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gradFill>
                  <a:gsLst>
                    <a:gs pos="0">
                      <a:srgbClr val="00FFF0"/>
                    </a:gs>
                    <a:gs pos="44000">
                      <a:srgbClr val="00F6FF"/>
                    </a:gs>
                    <a:gs pos="75000">
                      <a:srgbClr val="B896FF"/>
                    </a:gs>
                  </a:gsLst>
                  <a:lin ang="1800000" scaled="0"/>
                </a:gra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048DD2-9EC2-D0E6-390B-D6FEF7F7E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460" y="1563803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6A3F60-C785-55F7-FFFA-6777E5B0CF19}"/>
              </a:ext>
            </a:extLst>
          </p:cNvPr>
          <p:cNvSpPr txBox="1"/>
          <p:nvPr userDrawn="1"/>
        </p:nvSpPr>
        <p:spPr>
          <a:xfrm>
            <a:off x="905069" y="647544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255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6096000" y="0"/>
            <a:ext cx="6096000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540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6DF0B1-39A8-66D2-5901-784B6426A5BC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3F04122-42C2-36BC-47CE-0B679AD5BEF4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B58A26-A489-E0C7-76A6-353A0E98D08D}"/>
              </a:ext>
            </a:extLst>
          </p:cNvPr>
          <p:cNvSpPr txBox="1">
            <a:spLocks/>
          </p:cNvSpPr>
          <p:nvPr userDrawn="1"/>
        </p:nvSpPr>
        <p:spPr>
          <a:xfrm>
            <a:off x="633632" y="722842"/>
            <a:ext cx="5341718" cy="3439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Title Goes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4550C39-4E9B-6498-10DD-2EE07D4692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85349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295A6AC-FD32-C87C-6A0D-33F65D81B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B35227-E4B8-E7D7-CFC8-BEC6F4696E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59128"/>
            <a:ext cx="495300" cy="182096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98434BA-C643-9226-9074-622A044FDF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71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89EA330-0A46-587B-303A-AB9292370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713" y="722843"/>
            <a:ext cx="3759901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1" i="0" spc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Title with Big and Little Typ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205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4383741" y="0"/>
            <a:ext cx="7808259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7A3697B-75D8-F270-FA16-FF1CAED387B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A88C32-A814-A30F-E410-D8FFB09D466B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B55100E-75B5-2C7B-2A86-042FF5C3AF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FFDB60C-4B68-3EAD-E6FA-B4039FD58A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32410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627D40C-5450-0B96-10EC-7A6EB8067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4D7BC14-B8F4-8C70-3780-52E71B389E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00628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DE52C79-B543-C221-B6BE-B72B78C48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0A19AA13-C08A-D0E6-EC94-5A71061E59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79755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03930C0-6C91-A5B6-792F-04CF2D36D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15DEBE63-B16C-3AD7-6270-ECA63D2CC6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4231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789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_Lar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rgbClr val="000000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4199F3-8BE2-BBEA-427A-5AD0BBF888B3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DB76AC-B244-C159-B205-D8B830CCA43A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012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F093B7-84AC-4D63-2502-6D71BFDF8DB8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4F95B6-7091-82B3-BCAB-D9319A03C7C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385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33CF80-FFEB-A0A3-96C3-70C36A76E5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gradFill>
                  <a:gsLst>
                    <a:gs pos="0">
                      <a:srgbClr val="00F6FF"/>
                    </a:gs>
                    <a:gs pos="57000">
                      <a:srgbClr val="00FFF0"/>
                    </a:gs>
                    <a:gs pos="100000">
                      <a:srgbClr val="B896FF"/>
                    </a:gs>
                  </a:gsLst>
                  <a:lin ang="36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A8993B1-0A80-3A00-9ABA-D943C84F94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EB0807-0658-010A-4800-47A758C6FB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8BD8A55-0F08-8A7E-D808-C2A3A3FF7E9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F63EE3-B677-73F5-4D60-6EEFC0FE2006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069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C498510-4A43-03CD-36C1-2A8353B4C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A7FE39D-9B2F-3A82-4481-DEBB420622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99B77B-934C-404B-9904-C2D7E70C8905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1BBAC43-9697-89D1-1C2F-02929E0454D3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155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5AE9A1E-2209-0966-CD00-6DBDADBB1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70C6AC1-AA2F-89B9-2D44-315F603238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29FB170-8BDC-CF05-AC75-D03AEB2228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3F46C9-B563-1ABE-3DDB-DDB91319FF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903792-0661-4AB0-55E4-3A640B87ED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702D3-DFB2-CABB-A601-21371216F8D5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878B45B-DA79-15A1-EC93-AADC579ADA4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70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3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1ABE214-CBB4-3A34-095A-0370A5C4AF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1FF2075-AD33-0E1E-1658-146B3E4E2FCC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040519E-0144-D61F-8E0C-52A5A9F6F1D7}"/>
              </a:ext>
            </a:extLst>
          </p:cNvPr>
          <p:cNvSpPr txBox="1">
            <a:spLocks/>
          </p:cNvSpPr>
          <p:nvPr userDrawn="1"/>
        </p:nvSpPr>
        <p:spPr>
          <a:xfrm>
            <a:off x="113290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8521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3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 flip="none" rotWithShape="1"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1"/>
                  <a:tileRect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B18FCDA-6157-DD00-EDF9-0F787E8060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FD6A39-8EF9-9CA0-AA7E-45DB798A90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2309E2-3B1E-50D2-B2BC-867833D702D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8E22721-BCDB-A1E7-59E5-A4DE62992615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048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33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23095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258175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ma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8DEA029-C2BF-93AE-56B7-39E611F58B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6F9EF5-29E8-93D3-E218-354474130A6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E1A170-BC35-F789-C222-B52ABECE94F7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FEC108-AFBF-BADD-5D48-8FC6C3718F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341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D6310AE-15DA-337B-9B5E-33A904BF354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F314DE-C7E3-7237-4318-0407E44F5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5B1A98-E850-C3DE-38BF-EFAE0A2DC98C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E6FC5F8-7CE5-D29D-2CCA-C5715CDD43B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823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685857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710185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mal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455701-65C9-97B2-64E0-82F53FA377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14501"/>
            <a:ext cx="10896600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93B36D-BA2E-1899-D9F4-FEAD1083B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252472"/>
            <a:ext cx="10896600" cy="1136904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bunch of type and don’t want to try too hard. Lorem ipsum diam fames </a:t>
            </a:r>
            <a:r>
              <a:rPr lang="en-US" err="1"/>
              <a:t>augue</a:t>
            </a:r>
            <a:r>
              <a:rPr lang="en-US"/>
              <a:t> in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porta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vestibulum </a:t>
            </a:r>
            <a:r>
              <a:rPr lang="en-US" err="1"/>
              <a:t>eu</a:t>
            </a:r>
            <a:r>
              <a:rPr lang="en-US"/>
              <a:t> ac integer, </a:t>
            </a:r>
            <a:r>
              <a:rPr lang="en-US" err="1"/>
              <a:t>tellus</a:t>
            </a:r>
            <a:r>
              <a:rPr lang="en-US"/>
              <a:t> pharetra </a:t>
            </a:r>
            <a:r>
              <a:rPr lang="en-US" err="1"/>
              <a:t>dictumst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 ad </a:t>
            </a:r>
            <a:r>
              <a:rPr lang="en-US" err="1"/>
              <a:t>facilisis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7BD50B6-BCAD-6C1D-94E4-391D6EFE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8B922CD-AA98-19C2-F226-24D0CD58A7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82990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-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959DAE7-B533-7C26-06A9-299565EE08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1448687"/>
            <a:ext cx="10877993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AC9E8CA-88FF-A7D0-4471-3E5178A6D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5A5532C-1A44-601F-63DE-35FE9E5CCF9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15858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D5963C9-D5D1-84E3-AF7B-5BFA6D21DC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2784" y="2698291"/>
            <a:ext cx="4648200" cy="177862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205CA7F-D6DB-04A0-EA4C-4787388D35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2784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148D1E8-D0B5-5F4B-AE07-155B7CAD8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789B724-DDDF-4B41-E38D-8AA4A3E54FE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683883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9C198DC-372C-F60D-2583-3EEDD5323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8380D62-CB6C-B373-E0E2-D002F4BD4C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73353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+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4DF3F84-AB7D-CCBF-CE9C-8622CDB3301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5B9E3B6-606B-4386-3178-88031FBF9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5217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3A954E-DE2D-00F0-C4ED-0008C326EC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95217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97F8596-9B60-0E1E-695B-F159BEA9E3D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95216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BB6C83D-C556-0782-5061-97C7DD672F2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41209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D25C29-AD3E-1278-B083-FCE0D45401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41209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AB8C86-9C9A-0BF1-5545-731713F1DF9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41208" y="1726692"/>
            <a:ext cx="3361476" cy="1917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A73F49-D1D2-3CD7-931A-C196B52C79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51B6335-94C2-4FFE-338B-28D29593A57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99370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2682874"/>
            <a:ext cx="3363468" cy="30351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2B70457-B389-D08A-D7A4-A322C74C9D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35E41E-9E5E-2B45-2AC0-EB66F1702E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95917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533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33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27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727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7CED83E-2EFF-B95A-4339-1971DE1A2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163DC51-3FE7-871F-8D9B-C299CFC5F2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54170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1757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757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1757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4150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4150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5D3BEB48-F134-5C30-6B6D-9CE9C41CC7F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44150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3715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3715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BA6217C-C15D-5705-1523-51C7EE9D274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23715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10FD9B17-7D3A-73D7-A51D-A3A5FF8DA3B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055608" y="1491333"/>
            <a:ext cx="2404872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F9BFC9F-EE6C-AEB4-97F1-A5CE2C4BA2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7669829-F3A9-621E-9905-791E46E27B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9770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55002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Purple Blur&#10;">
            <a:extLst>
              <a:ext uri="{FF2B5EF4-FFF2-40B4-BE49-F238E27FC236}">
                <a16:creationId xmlns:a16="http://schemas.microsoft.com/office/drawing/2014/main" id="{20858E9A-CB5D-190B-E115-D040F11CFF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60136"/>
            <a:ext cx="1488559" cy="2713074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1" name="Picture 20" descr="Purple blur&#10;">
            <a:extLst>
              <a:ext uri="{FF2B5EF4-FFF2-40B4-BE49-F238E27FC236}">
                <a16:creationId xmlns:a16="http://schemas.microsoft.com/office/drawing/2014/main" id="{FC072D8F-9413-C0EE-DD0E-94A9EA142E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9200" y="0"/>
            <a:ext cx="1260401" cy="1260401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D6477BC-51B4-390A-0147-95CB7052C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15F930C-ED21-E214-FA54-5737DC2413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84832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75F403F-1791-E454-1EF7-19537E5F0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D955803-2C5C-0B5F-11E5-5F0FBB37EA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75158931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1287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287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1586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1586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03488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3488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4791048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B84B59E6-DB3C-524C-C721-DF0AEF48CED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40E92CB-4429-D81E-AE0E-74FA641AF1D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A1F11A-7C19-9AF1-8D46-17DC6138F6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58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0FF0E1-8D9D-EEE3-60BA-CF73F351DF9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58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565875D-645C-4E8A-84A9-85DA3A7C6D3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970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06FED9F-44EA-A943-059C-C15E1B5FC8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970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56758208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1" y="1"/>
            <a:ext cx="611293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7" y="1"/>
            <a:ext cx="611293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39043482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823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823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163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163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5401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5401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5515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5515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81998666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8CEB80F1-2238-7003-E60A-777E8870D8C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081F6261-AB67-5FCE-B3A8-35604F14E2A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960C74D-5AC8-20B0-B8EC-5A82F42EEBC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1E694EF9-63E8-2DD1-855D-8226F0B9D7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2582" y="523036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0AC54D94-5550-35E2-9CBB-6380D1A0559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25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1174A8AE-15FF-5BDD-7685-4FAF6EF23C5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7673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D7025AF-5AD5-E053-39A9-A1C9947284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73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5C5A44C-A29D-3C27-3B25-9F14C1ECA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059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BF15487-07BD-CB9A-E6A8-536C7BB5ED6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059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1917859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" y="1"/>
            <a:ext cx="6117336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6" y="1"/>
            <a:ext cx="6117336" cy="47274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690852757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385887"/>
            <a:ext cx="3044952" cy="33432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39719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564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564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33267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33267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000125"/>
            <a:ext cx="3044952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784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784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05468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905468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65351649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14713" y="1"/>
            <a:ext cx="5372099" cy="39719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803132" y="1000125"/>
            <a:ext cx="3388868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25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625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21751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21751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1000125"/>
            <a:ext cx="3388868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450602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69C4A8F-5B1E-7B0E-CAF7-B9F33D92C84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D6F42AB-F517-759C-A3C4-63443ED77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4E9D77-5CF8-5131-6018-48DF58117EC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34280A7-4796-759A-6B00-0444E865A6A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14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0"/>
            <a:ext cx="7810500" cy="49445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381500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716378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55255" y="1819274"/>
            <a:ext cx="2616200" cy="26050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04812"/>
            <a:ext cx="3779476" cy="42100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758363" y="1484311"/>
            <a:ext cx="2329046" cy="2614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47234" y="893762"/>
            <a:ext cx="2835349" cy="37211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2323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2323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473845-42B3-319E-BAD5-25FF29ECDA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697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087191E-6D99-69DB-18A5-0987DC62F1F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697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536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536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03676709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4488"/>
            <a:ext cx="3357562" cy="280987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71874" y="404812"/>
            <a:ext cx="5100639" cy="42100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58250" y="893762"/>
            <a:ext cx="3333750" cy="35353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8673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673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15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15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22600768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248E6C1-AD8D-259C-5340-56A8EC44534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419100"/>
            <a:ext cx="7810500" cy="43730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9A18AC36-E872-0FBB-CCDF-E7487C47BE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114800" cy="33467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D4E9A13-72EC-7795-6682-8E9D5F8847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9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AE7E2F1-8A7E-2749-7C23-12A180BF0CB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9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629CAEA-5BAE-C2BF-C737-48B738207A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8F9ED73-42C5-93DF-AE80-AD7C5AF1BD6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9433926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C24334-259C-B34A-CF0B-6328CEB75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34EEC63-D2A6-A479-4356-E9E6BC1909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B2245E5-D2EB-1450-FEC1-6BEFE1F76A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52353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9D76B9-5EAA-9E63-4059-21E83CD46A10}"/>
              </a:ext>
            </a:extLst>
          </p:cNvPr>
          <p:cNvSpPr/>
          <p:nvPr userDrawn="1"/>
        </p:nvSpPr>
        <p:spPr bwMode="auto">
          <a:xfrm>
            <a:off x="975360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2DA15A-8BB1-B824-E7EF-8D9046513FB2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9A158B8-5C5D-7C73-B048-F98B170D7851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773BA-924B-BAC6-7D25-ED7A9338BD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83976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2B58C1F-15E1-403E-C8DD-FB7FA7791D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83976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04661462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43804D-BD14-08D3-2752-570DB2A13AC1}"/>
              </a:ext>
            </a:extLst>
          </p:cNvPr>
          <p:cNvSpPr/>
          <p:nvPr userDrawn="1"/>
        </p:nvSpPr>
        <p:spPr bwMode="auto">
          <a:xfrm>
            <a:off x="7848600" y="0"/>
            <a:ext cx="434826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3E35CB-4416-67B4-9A4B-0412315D4979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B57818-3DD1-DA7E-0C01-8FA58F5B3AE9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3EB2ABD-8C1A-2F57-ED12-4A5372D24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6522818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CBC5A8B-D655-9D1E-4EAD-6B7EF3CBD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6522818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27883069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802983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7D9537-B25D-7D96-9993-3FD73B2FDB2F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1EAE48-670D-1E75-E1E5-6E8259532FEE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04B8001-80C4-3060-BD6B-437632BF7C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C73C2D60-2316-60E7-7382-870EBF68A7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0244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CF38BD-32C9-894D-AB81-415CC476E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A8AE99-B517-8AEB-D5E4-B09D52CA25AF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120F32B-02B9-F0A1-D25E-DE2CDA7F43C0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1749E3-2785-6125-72F4-4CB2CF388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8F30B81-156F-78DF-062D-E4DD7907F0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2905108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81500" y="0"/>
            <a:ext cx="78104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0"/>
            <a:ext cx="78105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76621A-DBD8-0204-830A-B611F2C50DB3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F4A5E9B-ED60-9026-0304-CC0E0C50B0BB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A259D8-8F7C-0047-F26B-69BFCE9B0D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477993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524263F-D90D-573F-672D-5622B33EAD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3477993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26693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3718992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867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52DE14-65C1-7956-7013-27CD9E260F56}"/>
              </a:ext>
            </a:extLst>
          </p:cNvPr>
          <p:cNvSpPr/>
          <p:nvPr userDrawn="1"/>
        </p:nvSpPr>
        <p:spPr bwMode="auto">
          <a:xfrm>
            <a:off x="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9C365B7-BDA2-A1BA-99C3-FAE4F63E61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5652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9CE349-346A-D8D6-57AD-5723D88B67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51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9E35029-5964-C030-FE93-F157EF1D672E}"/>
              </a:ext>
            </a:extLst>
          </p:cNvPr>
          <p:cNvSpPr txBox="1">
            <a:spLocks/>
          </p:cNvSpPr>
          <p:nvPr userDrawn="1"/>
        </p:nvSpPr>
        <p:spPr>
          <a:xfrm>
            <a:off x="4365652" y="1688770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200" b="1" i="0" spc="0" dirty="0">
                <a:gradFill>
                  <a:gsLst>
                    <a:gs pos="0">
                      <a:schemeClr val="accent3"/>
                    </a:gs>
                    <a:gs pos="45000">
                      <a:schemeClr val="accent3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3165365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0" y="0"/>
            <a:ext cx="3429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29000" y="0"/>
            <a:ext cx="8763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CC0D0B5-8985-C0CF-E031-72C099F136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44169FF-3519-85C9-0F2D-26C1E7EAB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2618014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E92AB95-E16F-C12B-B3CB-DCDED8BB72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2618014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11256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54513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D0723C-92A3-529E-5B7C-80EDBC2622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80312C7-4EE9-90CF-47E1-087BF0744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1B4920DC-0C83-DBD1-A7BA-450D741C9E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1515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CA393A3-BED5-A4B8-2CC9-68028E8F7DD4}"/>
              </a:ext>
            </a:extLst>
          </p:cNvPr>
          <p:cNvSpPr/>
          <p:nvPr userDrawn="1"/>
        </p:nvSpPr>
        <p:spPr bwMode="auto">
          <a:xfrm>
            <a:off x="0" y="0"/>
            <a:ext cx="715645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B52ADC-08BB-44B3-7F3D-505CD63B75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73605A9-1E62-45FD-73A7-1EA66A44C7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0308101-6824-4317-B732-39B094E4FA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2506235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FD4578C-8BBA-DD7F-1D7F-67C3334C400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93757340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6766415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697564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604727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940874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91696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54523F-EFD3-EDB0-4AF0-FB2421CCF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DB8D92B-BDD7-86B1-A31A-C3740736BA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156309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035424"/>
            <a:ext cx="46482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7200" b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7700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700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00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700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7700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647700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661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735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9A669-5B78-3F07-CBF1-C437EA6773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A54FB3-0DD4-3476-8B10-FABA3D14ED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B9ACF5-48F0-844E-F1FB-B17321ED1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18AD2-4D60-7247-9650-72D851CF3EEE}" type="datetimeFigureOut">
              <a:rPr lang="en-US" smtClean="0"/>
              <a:t>2/6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14B3CB-08B2-BDB8-294F-8D4B26DF3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479F69-C2C0-5218-7ABE-9E722B6B2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27E66-CD87-FF4F-88EE-42D01714CE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983683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D2FFF58-70EB-C86F-9E59-1581F18B87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FF9120F-E29C-8B3A-D5EB-E673F7B24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8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A6D870D-A9F4-488C-8ECB-5016711134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98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43861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03948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0" y="2"/>
            <a:ext cx="12192000" cy="634999"/>
          </a:xfrm>
          <a:prstGeom prst="rect">
            <a:avLst/>
          </a:prstGeom>
          <a:gradFill flip="none" rotWithShape="1">
            <a:gsLst>
              <a:gs pos="100000">
                <a:srgbClr val="27BBFE"/>
              </a:gs>
              <a:gs pos="0">
                <a:srgbClr val="007FC9"/>
              </a:gs>
            </a:gsLst>
            <a:lin ang="0" scaled="0"/>
          </a:gra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04800" tIns="95249" rIns="95249" bIns="9524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78914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267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j-lt"/>
              <a:ea typeface="Helvetica Light"/>
              <a:cs typeface="Helvetica Ligh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54838" y="992373"/>
            <a:ext cx="11482029" cy="50644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65751" marR="0" indent="-365751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27BBFE"/>
              </a:buClr>
              <a:buSzTx/>
              <a:buFont typeface="Arial" panose="020B0604020202020204" pitchFamily="34" charset="0"/>
              <a:buChar char="•"/>
              <a:tabLst/>
              <a:defRPr sz="2133" b="0"/>
            </a:lvl1pPr>
            <a:lvl2pPr marL="975336" marR="0" indent="-365751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7BBFE"/>
              </a:buClr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1523962" marR="0" indent="-304792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7BBFE"/>
              </a:buClr>
              <a:buSzTx/>
              <a:buFont typeface="Arial" panose="020B0604020202020204" pitchFamily="34" charset="0"/>
              <a:buChar char="•"/>
              <a:tabLst/>
              <a:defRPr sz="1467">
                <a:solidFill>
                  <a:schemeClr val="bg1">
                    <a:lumMod val="85000"/>
                  </a:schemeClr>
                </a:solidFill>
              </a:defRPr>
            </a:lvl3pPr>
            <a:lvl4pPr marL="2133547" marR="0" indent="-304792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7BBFE"/>
              </a:buClr>
              <a:buSzTx/>
              <a:buFont typeface="Arial" panose="020B0604020202020204" pitchFamily="34" charset="0"/>
              <a:buChar char="•"/>
              <a:tabLst/>
              <a:defRPr sz="1467">
                <a:solidFill>
                  <a:schemeClr val="bg1">
                    <a:lumMod val="85000"/>
                  </a:schemeClr>
                </a:solidFill>
              </a:defRPr>
            </a:lvl4pPr>
            <a:lvl5pPr marL="2743131" marR="0" indent="-304792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7BBFE"/>
              </a:buClr>
              <a:buSzTx/>
              <a:buFont typeface="Arial" panose="020B0604020202020204" pitchFamily="34" charset="0"/>
              <a:buChar char="•"/>
              <a:tabLst/>
              <a:defRPr sz="1467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" y="1"/>
            <a:ext cx="11836865" cy="635000"/>
          </a:xfrm>
        </p:spPr>
        <p:txBody>
          <a:bodyPr vert="horz" lIns="137160" tIns="45720" rIns="91440" bIns="64008" rtlCol="0" anchor="ctr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11721343" y="6638997"/>
            <a:ext cx="392483" cy="332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fld id="{56769742-659C-BB46-8305-ED60B0C8C160}" type="slidenum">
              <a:rPr lang="en-US" sz="933" kern="12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ctr" eaLnBrk="0" hangingPunct="0">
                <a:defRPr/>
              </a:pPr>
              <a:t>‹#›</a:t>
            </a:fld>
            <a:endParaRPr lang="en-US" sz="933" kern="120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892442" y="6577516"/>
            <a:ext cx="6833401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933" kern="12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2021  American Well Corporation  </a:t>
            </a:r>
            <a:r>
              <a:rPr lang="en-US" sz="933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|</a:t>
            </a:r>
            <a:r>
              <a:rPr lang="en-US" sz="933" kern="12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Confidential  </a:t>
            </a:r>
            <a:r>
              <a:rPr lang="en-US" sz="933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|</a:t>
            </a:r>
            <a:endParaRPr lang="en-US" sz="933" kern="12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E283DE-51B4-DAFA-7F56-BE1ADB8B53A0}"/>
              </a:ext>
            </a:extLst>
          </p:cNvPr>
          <p:cNvSpPr/>
          <p:nvPr userDrawn="1"/>
        </p:nvSpPr>
        <p:spPr bwMode="auto">
          <a:xfrm>
            <a:off x="0" y="2"/>
            <a:ext cx="12192000" cy="634999"/>
          </a:xfrm>
          <a:prstGeom prst="rect">
            <a:avLst/>
          </a:prstGeom>
          <a:gradFill flip="none" rotWithShape="1">
            <a:gsLst>
              <a:gs pos="100000">
                <a:srgbClr val="27BBFE"/>
              </a:gs>
              <a:gs pos="0">
                <a:srgbClr val="007FC9"/>
              </a:gs>
            </a:gsLst>
            <a:lin ang="0" scaled="0"/>
          </a:gra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04800" tIns="95249" rIns="95249" bIns="9524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78914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267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j-lt"/>
              <a:ea typeface="Helvetica Light"/>
              <a:cs typeface="Helvetica Light"/>
            </a:endParaRPr>
          </a:p>
        </p:txBody>
      </p:sp>
      <p:sp>
        <p:nvSpPr>
          <p:cNvPr id="3" name="Rectangle 15">
            <a:extLst>
              <a:ext uri="{FF2B5EF4-FFF2-40B4-BE49-F238E27FC236}">
                <a16:creationId xmlns:a16="http://schemas.microsoft.com/office/drawing/2014/main" id="{4CE6F015-241F-A1D8-F85A-9FB324FF9E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721343" y="6638997"/>
            <a:ext cx="392483" cy="332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fld id="{56769742-659C-BB46-8305-ED60B0C8C160}" type="slidenum">
              <a:rPr lang="en-US" sz="933" kern="12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ctr" eaLnBrk="0" hangingPunct="0">
                <a:defRPr/>
              </a:pPr>
              <a:t>‹#›</a:t>
            </a:fld>
            <a:endParaRPr lang="en-US" sz="933" kern="120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041416-980C-CD33-409F-CBB4692206E0}"/>
              </a:ext>
            </a:extLst>
          </p:cNvPr>
          <p:cNvSpPr/>
          <p:nvPr userDrawn="1"/>
        </p:nvSpPr>
        <p:spPr>
          <a:xfrm>
            <a:off x="6892442" y="6577516"/>
            <a:ext cx="6833401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933" kern="12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2023  American Well Corporation  </a:t>
            </a:r>
            <a:r>
              <a:rPr lang="en-US" sz="933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|</a:t>
            </a:r>
            <a:r>
              <a:rPr lang="en-US" sz="933" kern="12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Confidential  </a:t>
            </a:r>
            <a:r>
              <a:rPr lang="en-US" sz="933" kern="120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|</a:t>
            </a:r>
            <a:endParaRPr lang="en-US" sz="933" kern="120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32757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A7470-6506-4B71-AD87-6F7FA0DD0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6252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5821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10515600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A3D84A-3A3E-A95D-16B1-DEAB594B0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374159C-7297-E470-BBCD-D20C41E7AF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670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ark"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5825" y="4670399"/>
            <a:ext cx="7068944" cy="4553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6489700" cy="2000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8D4788E-EE52-507E-7D71-0F24A4DBD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5825" y="6403340"/>
            <a:ext cx="1645920" cy="2260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kumimoji="0" lang="en-US" sz="6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PAM Proprietary &amp; Confidential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86B7FC-77D7-4734-103B-B7BEE343F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653938"/>
            <a:ext cx="8060366" cy="21031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8200"/>
              </a:lnSpc>
              <a:spcBef>
                <a:spcPts val="0"/>
              </a:spcBef>
              <a:defRPr sz="8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Presentation Cover with Longer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25FA4B-8346-1D65-A1A6-BE46B3388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18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horter_Title_Half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040E1BA6-2B94-3FB9-8A61-22A11D25EDE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23008" y="0"/>
            <a:ext cx="606899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DF60C00-4DF7-EA8B-64E5-6D8707C3F1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825" y="4670399"/>
            <a:ext cx="5151216" cy="37253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CED6F17-ABB3-3BF2-0943-BB3D363DB3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825" y="5393921"/>
            <a:ext cx="5185941" cy="2000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00" b="1" i="0" spc="400" baseline="0">
                <a:solidFill>
                  <a:srgbClr val="00F6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DECEMBER 2022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3242F72-C056-2877-37FC-0C0E8E2FA1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5825" y="1653938"/>
            <a:ext cx="5139642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over with Shor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237D0-4B7C-4C74-1B34-6585F8B84C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716555"/>
            <a:ext cx="658001" cy="2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7212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0096CA2-6B8E-1E0B-7446-BC5F37E73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0402405-4264-41C3-7E10-6A2AF1A461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50055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0512"/>
            <a:ext cx="359473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6051" y="154228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6051" y="223535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6051" y="291825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6051" y="361132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6051" y="4294232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6051" y="497713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98342" y="154228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8342" y="2235353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98342" y="291825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98342" y="361132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8342" y="4294232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8342" y="497713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522FB4-D05A-7BBC-4925-8F44384D8BAF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0435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43E4466-9172-11FF-B631-0772F610EC0A}"/>
              </a:ext>
            </a:extLst>
          </p:cNvPr>
          <p:cNvCxnSpPr>
            <a:cxnSpLocks/>
          </p:cNvCxnSpPr>
          <p:nvPr userDrawn="1"/>
        </p:nvCxnSpPr>
        <p:spPr>
          <a:xfrm>
            <a:off x="4828321" y="273615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9B406A-62F3-7DD2-AFDA-098BD84DC9B8}"/>
              </a:ext>
            </a:extLst>
          </p:cNvPr>
          <p:cNvCxnSpPr>
            <a:cxnSpLocks/>
          </p:cNvCxnSpPr>
          <p:nvPr userDrawn="1"/>
        </p:nvCxnSpPr>
        <p:spPr>
          <a:xfrm>
            <a:off x="4828321" y="342873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121306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828321" y="481388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828321" y="5511461"/>
            <a:ext cx="671597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96781EE-EF68-B10A-45AB-467DB1EB6B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66051" y="5738007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</a:t>
            </a:r>
            <a:r>
              <a:rPr lang="hu-HU"/>
              <a:t>7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900CDBB-55EB-6956-E327-4DE600BFF4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98342" y="5738007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4201664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0512"/>
            <a:ext cx="359473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6051" y="154228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6051" y="223535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6051" y="291825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6051" y="3611326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66051" y="4294232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6051" y="4977139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98342" y="154228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8342" y="2235353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98342" y="291825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98342" y="3611326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8342" y="4294232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8342" y="4977139"/>
            <a:ext cx="624595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522FB4-D05A-7BBC-4925-8F44384D8BAF}"/>
              </a:ext>
            </a:extLst>
          </p:cNvPr>
          <p:cNvCxnSpPr>
            <a:cxnSpLocks/>
          </p:cNvCxnSpPr>
          <p:nvPr userDrawn="1"/>
        </p:nvCxnSpPr>
        <p:spPr>
          <a:xfrm>
            <a:off x="4566051" y="2043581"/>
            <a:ext cx="697824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43E4466-9172-11FF-B631-0772F610EC0A}"/>
              </a:ext>
            </a:extLst>
          </p:cNvPr>
          <p:cNvCxnSpPr>
            <a:cxnSpLocks/>
          </p:cNvCxnSpPr>
          <p:nvPr userDrawn="1"/>
        </p:nvCxnSpPr>
        <p:spPr>
          <a:xfrm>
            <a:off x="4566051" y="2736156"/>
            <a:ext cx="697824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9B406A-62F3-7DD2-AFDA-098BD84DC9B8}"/>
              </a:ext>
            </a:extLst>
          </p:cNvPr>
          <p:cNvCxnSpPr>
            <a:cxnSpLocks/>
          </p:cNvCxnSpPr>
          <p:nvPr userDrawn="1"/>
        </p:nvCxnSpPr>
        <p:spPr>
          <a:xfrm flipV="1">
            <a:off x="4566051" y="3428731"/>
            <a:ext cx="6978249" cy="269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566051" y="4121306"/>
            <a:ext cx="697824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566051" y="4813881"/>
            <a:ext cx="697824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566051" y="5511461"/>
            <a:ext cx="6978249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8259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353882"/>
            <a:ext cx="3594735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6000" b="0" dirty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F9CE8E-C61D-47C9-7C92-80C8B9BE9261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127679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2BA3F-B120-FB36-1C74-89FF4B905719}"/>
              </a:ext>
            </a:extLst>
          </p:cNvPr>
          <p:cNvCxnSpPr>
            <a:cxnSpLocks/>
          </p:cNvCxnSpPr>
          <p:nvPr userDrawn="1"/>
        </p:nvCxnSpPr>
        <p:spPr>
          <a:xfrm>
            <a:off x="4597093" y="4821255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E237AFC-258A-A0AE-B66B-CB1C869A2032}"/>
              </a:ext>
            </a:extLst>
          </p:cNvPr>
          <p:cNvCxnSpPr>
            <a:cxnSpLocks/>
          </p:cNvCxnSpPr>
          <p:nvPr userDrawn="1"/>
        </p:nvCxnSpPr>
        <p:spPr>
          <a:xfrm>
            <a:off x="4597093" y="551483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38260B-0DC8-F1D9-0A04-B34FD9548DDE}"/>
              </a:ext>
            </a:extLst>
          </p:cNvPr>
          <p:cNvCxnSpPr>
            <a:cxnSpLocks/>
          </p:cNvCxnSpPr>
          <p:nvPr userDrawn="1"/>
        </p:nvCxnSpPr>
        <p:spPr>
          <a:xfrm>
            <a:off x="4597093" y="3434103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4323139-2B65-F98E-4BA6-26EBD4E0A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4801" y="1544424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203F9BF-BF5F-6A91-5F78-9E13CFB346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8400" y="1544424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76CC08A-4820-35BC-92E1-8230BD9D36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14801" y="2237970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7291D4C-4D95-8F05-0F5C-BA39164C82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8400" y="2237970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6CEF688-2334-22F4-39C4-5CC9525BC5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14801" y="2931516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C7F5B96-F4B8-B78A-06A1-1387CE266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8400" y="2931516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F2D20F35-3DAA-AC00-0D89-CD5517054A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14801" y="3625062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CEC68D4-F109-8967-2138-7755BCDA7F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48400" y="3625062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D31E2A1-E7D9-C6E2-1CAD-132E8FC150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14801" y="4318608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9FFDA3CA-2B8B-D638-20E4-71AC7A34D73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48400" y="4318608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57F9336-F799-453A-9AE4-57BF009F4E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14801" y="5012153"/>
            <a:ext cx="1866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ACF06D8-4539-871E-68C7-607E709243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8400" y="5012153"/>
            <a:ext cx="529590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Agenda item her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040C191-15FC-CC2A-76C6-F51F8764B2F0}"/>
              </a:ext>
            </a:extLst>
          </p:cNvPr>
          <p:cNvCxnSpPr>
            <a:cxnSpLocks/>
          </p:cNvCxnSpPr>
          <p:nvPr userDrawn="1"/>
        </p:nvCxnSpPr>
        <p:spPr>
          <a:xfrm>
            <a:off x="4597093" y="2740527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2D121A1-59B7-61ED-F9B5-D7F3CF3FA035}"/>
              </a:ext>
            </a:extLst>
          </p:cNvPr>
          <p:cNvCxnSpPr>
            <a:cxnSpLocks/>
          </p:cNvCxnSpPr>
          <p:nvPr userDrawn="1"/>
        </p:nvCxnSpPr>
        <p:spPr>
          <a:xfrm>
            <a:off x="4597094" y="2046951"/>
            <a:ext cx="694944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67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Half_Pag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72483"/>
            <a:ext cx="3594735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93961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BFE2FC0-3FA5-A96D-8741-0967434C45D8}"/>
              </a:ext>
            </a:extLst>
          </p:cNvPr>
          <p:cNvSpPr/>
          <p:nvPr userDrawn="1"/>
        </p:nvSpPr>
        <p:spPr bwMode="auto">
          <a:xfrm>
            <a:off x="7006459" y="0"/>
            <a:ext cx="1507755" cy="1507755"/>
          </a:xfrm>
          <a:prstGeom prst="ellipse">
            <a:avLst/>
          </a:prstGeom>
          <a:solidFill>
            <a:srgbClr val="B896FF"/>
          </a:solidFill>
          <a:ln>
            <a:noFill/>
          </a:ln>
          <a:effectLst>
            <a:softEdge rad="50192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44D886A-7EE9-3D61-5350-BFDC9DEF77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5603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900308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82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25" y="133604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5825" y="3126991"/>
            <a:ext cx="4554537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202904" y="0"/>
            <a:ext cx="498909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490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3CF198-2C15-1B0B-2941-6BA5258C3280}"/>
              </a:ext>
            </a:extLst>
          </p:cNvPr>
          <p:cNvSpPr/>
          <p:nvPr userDrawn="1"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2"/>
              </a:gs>
              <a:gs pos="17000">
                <a:schemeClr val="accent4">
                  <a:alpha val="79000"/>
                </a:schemeClr>
              </a:gs>
              <a:gs pos="37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83EE370-5755-0FBB-7D84-A96FB6BC63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90735A68-7AD1-6A4F-4FBB-D417739247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749C80-4012-9B9E-C0D6-07426A51EF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04B4EE-632B-DECA-21A7-CE4B30649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D4AEAE2-ED8B-F9AA-7FD1-83D75695B020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A49E1C-D7C7-5097-0968-F987FEF5622B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059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x_Section_Header_Co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B8FFF1-7BEF-FB67-FD62-E5D324B98FDF}"/>
              </a:ext>
            </a:extLst>
          </p:cNvPr>
          <p:cNvSpPr/>
          <p:nvPr userDrawn="1"/>
        </p:nvSpPr>
        <p:spPr bwMode="auto">
          <a:xfrm>
            <a:off x="620713" y="647700"/>
            <a:ext cx="10969625" cy="55626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99000">
                <a:schemeClr val="accent6"/>
              </a:gs>
              <a:gs pos="17000">
                <a:schemeClr val="accent4">
                  <a:alpha val="79000"/>
                </a:schemeClr>
              </a:gs>
              <a:gs pos="38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1C718F0-D4A4-9872-BDD6-D7C7A94D7E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5400" y="2977260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7C5E3EB5-098F-0D6A-8385-E69FD287B5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5240" y="1723225"/>
            <a:ext cx="9601200" cy="1212018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F3FBB37-F96B-0FEB-0FAA-3A60AA0265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2842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847CF6-2723-8A78-E571-E5E1D96EE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3859"/>
            <a:ext cx="495300" cy="1820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4B1EED2-CFE5-9449-1191-B818AA5450B2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005ECF6-ECEB-D7EC-6E6C-D560F76EDB1A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758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128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8C30E-9F31-D8F5-1E4D-396AE478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8C437B2-D94C-1848-2A24-39D1B91C9C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59837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0FA9B4-7015-F669-A684-04DBF3A80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77A3A7C-9EA1-F184-A7F0-65CDB16D77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C5FFC92-2965-BCAA-1CC8-1CF099E8A9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1211252"/>
            <a:ext cx="10896600" cy="48006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79834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4033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700771F-7FE8-2510-0C0E-734572A38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1513A24-C9FD-06A1-1015-D9656D68B8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20757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300" y="1968918"/>
            <a:ext cx="10869110" cy="20313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ometimes You Want to Use a </a:t>
            </a:r>
            <a:br>
              <a:rPr lang="en-US"/>
            </a:br>
            <a:r>
              <a:rPr lang="en-US"/>
              <a:t>Subsection Divi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460" y="4784228"/>
            <a:ext cx="4757677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This slide can serve you well. It even has a space for a little something under the tit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3460" y="107188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gradFill>
                  <a:gsLst>
                    <a:gs pos="0">
                      <a:srgbClr val="00FFF0"/>
                    </a:gs>
                    <a:gs pos="44000">
                      <a:srgbClr val="00F6FF"/>
                    </a:gs>
                    <a:gs pos="75000">
                      <a:srgbClr val="B896FF"/>
                    </a:gs>
                  </a:gsLst>
                  <a:lin ang="1800000" scaled="0"/>
                </a:gra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048DD2-9EC2-D0E6-390B-D6FEF7F7E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460" y="1563803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6A3F60-C785-55F7-FFFA-6777E5B0CF19}"/>
              </a:ext>
            </a:extLst>
          </p:cNvPr>
          <p:cNvSpPr txBox="1"/>
          <p:nvPr userDrawn="1"/>
        </p:nvSpPr>
        <p:spPr>
          <a:xfrm>
            <a:off x="905069" y="647544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263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56F90B7-AA12-5038-5A8D-0CFFA0C11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AB18E20-ECBA-BCC3-6810-351C8062CC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4069965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right light in the dark&#10;&#10;Description automatically generated with low confidence">
            <a:extLst>
              <a:ext uri="{FF2B5EF4-FFF2-40B4-BE49-F238E27FC236}">
                <a16:creationId xmlns:a16="http://schemas.microsoft.com/office/drawing/2014/main" id="{6C552C0B-B8D0-9E70-212E-D2EE8D1CD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0"/>
          <a:stretch/>
        </p:blipFill>
        <p:spPr>
          <a:xfrm>
            <a:off x="-1" y="1"/>
            <a:ext cx="12192001" cy="6857999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300" y="1968918"/>
            <a:ext cx="6910500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ometimes You Want to Use a </a:t>
            </a:r>
            <a:br>
              <a:rPr lang="en-US"/>
            </a:br>
            <a:r>
              <a:rPr lang="en-US"/>
              <a:t>Subsection Divi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460" y="4784228"/>
            <a:ext cx="4757677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This slide can serve you well. It even has a space for a little something under the tit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3460" y="107188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gradFill>
                  <a:gsLst>
                    <a:gs pos="0">
                      <a:srgbClr val="00FFF0"/>
                    </a:gs>
                    <a:gs pos="44000">
                      <a:srgbClr val="00F6FF"/>
                    </a:gs>
                    <a:gs pos="75000">
                      <a:srgbClr val="B896FF"/>
                    </a:gs>
                  </a:gsLst>
                  <a:lin ang="1800000" scaled="0"/>
                </a:gra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048DD2-9EC2-D0E6-390B-D6FEF7F7E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460" y="1563803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805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300" y="1968918"/>
            <a:ext cx="10869110" cy="20313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ometimes You Want to Use a </a:t>
            </a:r>
            <a:br>
              <a:rPr lang="en-US"/>
            </a:br>
            <a:r>
              <a:rPr lang="en-US"/>
              <a:t>Subsection Divider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41C214B-0929-47F1-0881-0584DE92D4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460" y="4784228"/>
            <a:ext cx="4757677" cy="49244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This slide can serve you well. It even has a space for a little something under the tit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0F545EE-05C3-C60B-A33C-54CA3165B8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3460" y="1071880"/>
            <a:ext cx="498928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gradFill>
                  <a:gsLst>
                    <a:gs pos="0">
                      <a:srgbClr val="00FFF0"/>
                    </a:gs>
                    <a:gs pos="44000">
                      <a:srgbClr val="00F6FF"/>
                    </a:gs>
                    <a:gs pos="75000">
                      <a:srgbClr val="B896FF"/>
                    </a:gs>
                  </a:gsLst>
                  <a:lin ang="1800000" scaled="0"/>
                </a:gra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8048DD2-9EC2-D0E6-390B-D6FEF7F7E0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460" y="1563803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5" name="Picture 4" descr="A bright light in the dark&#10;&#10;Description automatically generated with low confidence">
            <a:extLst>
              <a:ext uri="{FF2B5EF4-FFF2-40B4-BE49-F238E27FC236}">
                <a16:creationId xmlns:a16="http://schemas.microsoft.com/office/drawing/2014/main" id="{6C552C0B-B8D0-9E70-212E-D2EE8D1CD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0"/>
          <a:stretch/>
        </p:blipFill>
        <p:spPr>
          <a:xfrm>
            <a:off x="-1" y="1"/>
            <a:ext cx="12192001" cy="685799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E0C8DFF-8AFD-8FC1-C986-E237390A035B}"/>
              </a:ext>
            </a:extLst>
          </p:cNvPr>
          <p:cNvSpPr txBox="1">
            <a:spLocks/>
          </p:cNvSpPr>
          <p:nvPr userDrawn="1"/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E44EFDC-AE69-F047-63D4-6A7BB17902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1765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6096000" y="0"/>
            <a:ext cx="6096000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540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6DF0B1-39A8-66D2-5901-784B6426A5BC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3F04122-42C2-36BC-47CE-0B679AD5BEF4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B58A26-A489-E0C7-76A6-353A0E98D08D}"/>
              </a:ext>
            </a:extLst>
          </p:cNvPr>
          <p:cNvSpPr txBox="1">
            <a:spLocks/>
          </p:cNvSpPr>
          <p:nvPr userDrawn="1"/>
        </p:nvSpPr>
        <p:spPr>
          <a:xfrm>
            <a:off x="633632" y="722842"/>
            <a:ext cx="5341718" cy="3439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Title Goes Her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4550C39-4E9B-6498-10DD-2EE07D46927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94517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_Tex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295A6AC-FD32-C87C-6A0D-33F65D81B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0EFDF222-F5FF-C5FC-328A-D04186600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713" y="1739153"/>
            <a:ext cx="5333999" cy="27699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When You Have a Big Thought That is Paired…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34201" y="1981200"/>
            <a:ext cx="4610100" cy="24393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400"/>
              </a:lnSpc>
              <a:defRPr sz="16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With a lot of supporting details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autem vel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riure</a:t>
            </a:r>
            <a:r>
              <a:rPr lang="en-US"/>
              <a:t> dolor in </a:t>
            </a:r>
            <a:r>
              <a:rPr lang="en-US" err="1"/>
              <a:t>hendrerit</a:t>
            </a:r>
            <a:r>
              <a:rPr lang="en-US"/>
              <a:t> in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B35227-E4B8-E7D7-CFC8-BEC6F4696E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59128"/>
            <a:ext cx="495300" cy="182096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98434BA-C643-9226-9074-622A044FDF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71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89EA330-0A46-587B-303A-AB92923709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713" y="722843"/>
            <a:ext cx="3759901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1" i="0" spc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Title with Big and Little Typ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822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AB310E8-6618-FE08-E6DC-00BA11F812CC}"/>
              </a:ext>
            </a:extLst>
          </p:cNvPr>
          <p:cNvSpPr/>
          <p:nvPr userDrawn="1"/>
        </p:nvSpPr>
        <p:spPr bwMode="auto">
          <a:xfrm>
            <a:off x="4383741" y="0"/>
            <a:ext cx="7808259" cy="6858000"/>
          </a:xfrm>
          <a:prstGeom prst="rect">
            <a:avLst/>
          </a:prstGeom>
          <a:solidFill>
            <a:srgbClr val="FBFAFA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rgbClr val="FBFAFA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A3697B-75D8-F270-FA16-FF1CAED387B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A88C32-A814-A30F-E410-D8FFB09D466B}"/>
              </a:ext>
            </a:extLst>
          </p:cNvPr>
          <p:cNvSpPr txBox="1">
            <a:spLocks/>
          </p:cNvSpPr>
          <p:nvPr userDrawn="1"/>
        </p:nvSpPr>
        <p:spPr>
          <a:xfrm>
            <a:off x="1135279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B55100E-75B5-2C7B-2A86-042FF5C3AF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FFDB60C-4B68-3EAD-E6FA-B4039FD58A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85001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2_photos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9BE9A04-ECA1-501C-8903-EB031E3BF5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47D220DB-753D-9009-E3B2-968BCB126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948209"/>
            <a:ext cx="3695700" cy="4678080"/>
          </a:xfrm>
          <a:prstGeom prst="rect">
            <a:avLst/>
          </a:prstGeom>
        </p:spPr>
      </p:pic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93BAF3BA-506C-CEDE-31A8-0E2F7E862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594" y="948210"/>
            <a:ext cx="2705674" cy="217516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627D40C-5450-0B96-10EC-7A6EB8067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4D7BC14-B8F4-8C70-3780-52E71B389E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16877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. 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DE52C79-B543-C221-B6BE-B72B78C481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0A19AA13-C08A-D0E6-EC94-5A71061E59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56638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pe+1_Photo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53C0E95-F19E-0ED7-FE2B-237DA02AA1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1981200"/>
            <a:ext cx="3346076" cy="49622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few sentences of type and supporting photos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96A70B9E-D366-36CB-4835-845ACD985BF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067300" y="922229"/>
            <a:ext cx="6477000" cy="47104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03930C0-6C91-A5B6-792F-04CF2D36D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611880" cy="343957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15DEBE63-B16C-3AD7-6270-ECA63D2CC6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06433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1C45522-9A1C-E9EB-4D96-B0CFFD2F7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250256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E6E8F6-4D6C-2884-0A7D-72BB39B21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2502567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07FC1-18DF-2355-0123-10BF2390C02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B024407-B901-7B1F-04F9-932983C670E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603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_Lar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rgbClr val="000000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4199F3-8BE2-BBEA-427A-5AD0BBF888B3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DB76AC-B244-C159-B205-D8B830CCA43A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13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F093B7-84AC-4D63-2502-6D71BFDF8DB8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4F95B6-7091-82B3-BCAB-D9319A03C7C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916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1_Person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D3CE1C1-8D34-F5FB-A65B-3074985EA7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632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916936"/>
            <a:ext cx="4648200" cy="254807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3F3B94-3699-B384-69C0-18FFCB0A6F0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2952" y="0"/>
            <a:ext cx="609904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F33CF80-FFEB-A0A3-96C3-70C36A76E5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632" y="948837"/>
            <a:ext cx="3467100" cy="11812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4400" b="0" i="0" spc="0">
                <a:gradFill>
                  <a:gsLst>
                    <a:gs pos="0">
                      <a:srgbClr val="00F6FF"/>
                    </a:gs>
                    <a:gs pos="57000">
                      <a:srgbClr val="00FFF0"/>
                    </a:gs>
                    <a:gs pos="100000">
                      <a:srgbClr val="B896FF"/>
                    </a:gs>
                  </a:gsLst>
                  <a:lin ang="36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</a:t>
            </a:r>
          </a:p>
          <a:p>
            <a:pPr lvl="0"/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A8993B1-0A80-3A00-9ABA-D943C84F94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2406797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EB0807-0658-010A-4800-47A758C6FB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8BD8A55-0F08-8A7E-D808-C2A3A3FF7E9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F63EE3-B677-73F5-4D60-6EEFC0FE2006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6132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C498510-4A43-03CD-36C1-2A8353B4C5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818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A7FE39D-9B2F-3A82-4481-DEBB420622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337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99B77B-934C-404B-9904-C2D7E70C8905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1BBAC43-9697-89D1-1C2F-02929E0454D3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512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2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0CE64FB-25EE-A414-B066-FC99784E85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836C28-DF9E-9EF6-F137-8474B6C084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43700" y="4890116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8A42E0B9-1EB1-1EAF-142C-C1A8686CF7F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096000" y="0"/>
            <a:ext cx="6099048" cy="3657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5AE9A1E-2209-0966-CD00-6DBDADBB1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70C6AC1-AA2F-89B9-2D44-315F603238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29FB170-8BDC-CF05-AC75-D03AEB2228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3700" y="3869172"/>
            <a:ext cx="3467100" cy="5643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3600" b="0" i="0" spc="0">
                <a:gradFill>
                  <a:gsLst>
                    <a:gs pos="0">
                      <a:srgbClr val="00F6FF"/>
                    </a:gs>
                    <a:gs pos="64000">
                      <a:srgbClr val="00FFF0"/>
                    </a:gs>
                    <a:gs pos="98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A3F46C9-B563-1ABE-3DDB-DDB91319FFB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43700" y="4521015"/>
            <a:ext cx="46482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903792-0661-4AB0-55E4-3A640B87ED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702D3-DFB2-CABB-A601-21371216F8D5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878B45B-DA79-15A1-EC93-AADC579ADA4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45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3_Peopl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1ABE214-CBB4-3A34-095A-0370A5C4AF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1FF2075-AD33-0E1E-1658-146B3E4E2FCC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040519E-0144-D61F-8E0C-52A5A9F6F1D7}"/>
              </a:ext>
            </a:extLst>
          </p:cNvPr>
          <p:cNvSpPr txBox="1">
            <a:spLocks/>
          </p:cNvSpPr>
          <p:nvPr userDrawn="1"/>
        </p:nvSpPr>
        <p:spPr>
          <a:xfrm>
            <a:off x="113290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728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_People_3_People_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40EAEC-268C-5162-974B-8A89C7C017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7881F8F-A8EB-2813-47A6-219B2122F6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77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 flip="none" rotWithShape="1"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1"/>
                  <a:tileRect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2343B4A-3451-DAED-5CA3-845DCEF785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7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D059CF42-DE64-D215-F33D-AEF5AC07DB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77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C1C1359-8F08-C0F3-2D34-47EA322BD2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7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CF16E01-7092-EE1E-8080-DCF72DAA24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942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CA67D79-120D-160C-DD3C-77D27D493F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942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8BF8ECD0-B431-B638-27D5-32D70A5C2A1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942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6E89CDA-AA89-1D71-39FA-7994E05AE9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42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B3BDFDF-6AC9-EF9C-D008-AB293FA5AA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8000" y="2916672"/>
            <a:ext cx="3467100" cy="5371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ts val="4600"/>
              </a:lnSpc>
              <a:spcBef>
                <a:spcPts val="0"/>
              </a:spcBef>
              <a:defRPr sz="2800" b="0" i="0" spc="0">
                <a:gradFill>
                  <a:gsLst>
                    <a:gs pos="0">
                      <a:srgbClr val="00F6FF"/>
                    </a:gs>
                    <a:gs pos="70000">
                      <a:srgbClr val="00FFF0"/>
                    </a:gs>
                    <a:gs pos="99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Name </a:t>
            </a:r>
            <a:r>
              <a:rPr lang="en-US" err="1">
                <a:effectLst/>
              </a:rPr>
              <a:t>Lastname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F6F850E-875C-CE1C-C696-B9119881C1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8000" y="3568514"/>
            <a:ext cx="3467100" cy="21544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EE0176D5-725E-3E5F-2AB8-0A9D56960DE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795020"/>
            <a:ext cx="1866900" cy="198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A11A961-3944-A416-6D0E-F19285260E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8000" y="3972655"/>
            <a:ext cx="2781300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B18FCDA-6157-DD00-EDF9-0F787E8060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419100"/>
            <a:ext cx="3467100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i="0" spc="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FD6A39-8EF9-9CA0-AA7E-45DB798A90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2309E2-3B1E-50D2-B2BC-867833D702D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8E22721-BCDB-A1E7-59E5-A4DE62992615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462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333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78078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r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4A0CF84-1941-A496-4DFE-6EDA7D9D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3950" y="1762728"/>
            <a:ext cx="10248900" cy="18466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meaningful yet concise quote.”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F2F86F6-216C-D721-7244-AE3BBA0609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3950" y="4231608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36A723C-C15E-DD81-7189-CFA5D70243A9}"/>
              </a:ext>
            </a:extLst>
          </p:cNvPr>
          <p:cNvSpPr txBox="1">
            <a:spLocks/>
          </p:cNvSpPr>
          <p:nvPr userDrawn="1"/>
        </p:nvSpPr>
        <p:spPr>
          <a:xfrm>
            <a:off x="647700" y="1762728"/>
            <a:ext cx="45069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i="0" kern="1200">
                <a:solidFill>
                  <a:schemeClr val="tx1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382750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ma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8DEA029-C2BF-93AE-56B7-39E611F58B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6415709"/>
            <a:ext cx="495300" cy="182096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6F9EF5-29E8-93D3-E218-354474130A6A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E1A170-BC35-F789-C222-B52ABECE94F7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FEC108-AFBF-BADD-5D48-8FC6C3718F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197" y="419100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tx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8577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B7486B-35A7-A3FF-6F44-2159B1E9FAD3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82A7F25-3763-4002-A844-19432F96312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BC1AB0-2CF4-70A1-0BD7-A9A57D9F9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342021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B299D4E-38EF-AC64-7836-1AD1E87996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342021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0838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81818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Image_Black_Bl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33DDFE8-68E0-F21D-DCE9-D9E38F969D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22" y="420624"/>
            <a:ext cx="3732914" cy="1538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ECTION TITLE</a:t>
            </a:r>
            <a:endParaRPr lang="en-US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4D0B811-ED8A-9D55-BC17-49A339380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1684" y="1455006"/>
            <a:ext cx="6452616" cy="22159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Sometimes you need to add a slightly longer quote. Sometimes you need to add a slightly longer quote.”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5767D7-CA92-A238-92D2-5F669365D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91683" y="4434840"/>
            <a:ext cx="455453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Job Title, Compan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D416F1-8A75-DCD6-2A1A-B16BE09ABC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347" y="1562100"/>
            <a:ext cx="3726051" cy="4100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EB1EBBF-7474-72D1-50C0-54A45DCBFB2E}"/>
              </a:ext>
            </a:extLst>
          </p:cNvPr>
          <p:cNvSpPr txBox="1">
            <a:spLocks/>
          </p:cNvSpPr>
          <p:nvPr userDrawn="1"/>
        </p:nvSpPr>
        <p:spPr>
          <a:xfrm>
            <a:off x="4772719" y="1455006"/>
            <a:ext cx="29458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rgbClr val="000000"/>
                </a:solidFill>
                <a:latin typeface="Calibri" panose="020F0502020204030204" pitchFamily="34" charset="0"/>
                <a:ea typeface="Calibri Light" panose="020F03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949380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mal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455701-65C9-97B2-64E0-82F53FA377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14501"/>
            <a:ext cx="10896600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93B36D-BA2E-1899-D9F4-FEAD1083B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252472"/>
            <a:ext cx="10896600" cy="1136904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When you just have a bunch of type and don’t want to try too hard. Lorem ipsum diam fames </a:t>
            </a:r>
            <a:r>
              <a:rPr lang="en-US" err="1"/>
              <a:t>augue</a:t>
            </a:r>
            <a:r>
              <a:rPr lang="en-US"/>
              <a:t> in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porta,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vestibulum </a:t>
            </a:r>
            <a:r>
              <a:rPr lang="en-US" err="1"/>
              <a:t>eu</a:t>
            </a:r>
            <a:r>
              <a:rPr lang="en-US"/>
              <a:t> ac integer, </a:t>
            </a:r>
            <a:r>
              <a:rPr lang="en-US" err="1"/>
              <a:t>tellus</a:t>
            </a:r>
            <a:r>
              <a:rPr lang="en-US"/>
              <a:t> pharetra </a:t>
            </a:r>
            <a:r>
              <a:rPr lang="en-US" err="1"/>
              <a:t>dictumst</a:t>
            </a:r>
            <a:r>
              <a:rPr lang="en-US"/>
              <a:t>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 ad </a:t>
            </a:r>
            <a:r>
              <a:rPr lang="en-US" err="1"/>
              <a:t>facilisis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7BD50B6-BCAD-6C1D-94E4-391D6EFE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8B922CD-AA98-19C2-F226-24D0CD58A7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77439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-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959DAE7-B533-7C26-06A9-299565EE08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1448687"/>
            <a:ext cx="10877993" cy="480060"/>
          </a:xfrm>
          <a:prstGeom prst="rect">
            <a:avLst/>
          </a:prstGeom>
        </p:spPr>
        <p:txBody>
          <a:bodyPr/>
          <a:lstStyle>
            <a:lvl1pPr>
              <a:defRPr sz="18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AC9E8CA-88FF-A7D0-4471-3E5178A6D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5A5532C-1A44-601F-63DE-35FE9E5CCF9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9657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4648200" cy="126566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2D5963C9-D5D1-84E3-AF7B-5BFA6D21DC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2784" y="2698291"/>
            <a:ext cx="4648200" cy="177862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205CA7F-D6DB-04A0-EA4C-4787388D35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2784" y="1752600"/>
            <a:ext cx="4648200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148D1E8-D0B5-5F4B-AE07-155B7CAD8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789B724-DDDF-4B41-E38D-8AA4A3E54FE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0011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9C198DC-372C-F60D-2583-3EEDD5323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8380D62-CB6C-B373-E0E2-D002F4BD4CC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99439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+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0AAB83-32F0-44B8-4EEF-5A03F77A74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632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4DF3F84-AB7D-CCBF-CE9C-8622CDB3301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1726692"/>
            <a:ext cx="3361476" cy="191719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5B9E3B6-606B-4386-3178-88031FBF9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95217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3A954E-DE2D-00F0-C4ED-0008C326EC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95217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97F8596-9B60-0E1E-695B-F159BEA9E3D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95216" y="1726692"/>
            <a:ext cx="3361476" cy="191719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BB6C83D-C556-0782-5061-97C7DD672F2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41209" y="4671155"/>
            <a:ext cx="3346076" cy="152214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D25C29-AD3E-1278-B083-FCE0D45401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41209" y="388052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6AB8C86-9C9A-0BF1-5545-731713F1DF9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141208" y="1726692"/>
            <a:ext cx="3361476" cy="191719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A73F49-D1D2-3CD7-931A-C196B52C79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51B6335-94C2-4FFE-338B-28D29593A57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5388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section_Divid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9369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F377A5-B459-0F7C-7F34-FEF9D76152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9369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FE36997-E074-D0DA-66D5-F4724D23BF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50352" y="2698291"/>
            <a:ext cx="3346076" cy="203510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63741EA-6845-0A00-EAE0-5F35986A0E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50352" y="1752600"/>
            <a:ext cx="334607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3632" y="2682874"/>
            <a:ext cx="3363468" cy="303517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2B70457-B389-D08A-D7A4-A322C74C9D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35E41E-9E5E-2B45-2AC0-EB66F1702E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55574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3632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632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533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533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72784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72784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1726692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2456891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7CED83E-2EFF-B95A-4339-1971DE1A2C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163DC51-3FE7-871F-8D9B-C299CFC5F2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7179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BBECED4-4691-EAD7-0FFE-7393254BBD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1757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1E7CDA2-C04C-57C2-B779-676BA576EF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757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CA9DA82-9FD9-26A5-10CB-6B8054B04BB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1757" y="1491333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1E07365-191F-2AEF-D8B3-0E6070334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4150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13B958-0014-5BD7-06FC-5AD3F29668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4150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5D3BEB48-F134-5C30-6B6D-9CE9C41CC7F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44150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0338E16-D20C-B7FA-8AC3-9C439351E1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37159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6B141DB-BB5A-9CCF-6E8E-737B235FA2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37159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BA6217C-C15D-5705-1523-51C7EE9D274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237159" y="1491333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66D88E-80F4-1365-4E17-69F78707BE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55608" y="3162245"/>
            <a:ext cx="2436876" cy="430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.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AFD4C9-E6EA-68B1-AE47-8BEF8A00F2D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5608" y="3892444"/>
            <a:ext cx="2400300" cy="229126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Lorem ipsum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eros mi </a:t>
            </a:r>
            <a:r>
              <a:rPr lang="en-US" err="1"/>
              <a:t>maecenas</a:t>
            </a:r>
            <a:r>
              <a:rPr lang="en-US"/>
              <a:t> ligula magna,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porta </a:t>
            </a:r>
            <a:r>
              <a:rPr lang="en-US" err="1"/>
              <a:t>duis</a:t>
            </a:r>
            <a:r>
              <a:rPr lang="en-US"/>
              <a:t> magna </a:t>
            </a:r>
            <a:r>
              <a:rPr lang="en-US" err="1"/>
              <a:t>felis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 gravida </a:t>
            </a:r>
            <a:r>
              <a:rPr lang="en-US" err="1"/>
              <a:t>molestie</a:t>
            </a:r>
            <a:r>
              <a:rPr lang="en-US"/>
              <a:t> a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iaculis</a:t>
            </a:r>
            <a:r>
              <a:rPr lang="en-US"/>
              <a:t> per, eros sit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tempus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dolor ac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libero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lorem cursus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curae</a:t>
            </a:r>
            <a:r>
              <a:rPr lang="en-US"/>
              <a:t> </a:t>
            </a:r>
            <a:r>
              <a:rPr lang="en-US" err="1"/>
              <a:t>primis</a:t>
            </a:r>
            <a:r>
              <a:rPr lang="en-US"/>
              <a:t> </a:t>
            </a:r>
            <a:r>
              <a:rPr lang="en-US" err="1"/>
              <a:t>cubilia</a:t>
            </a:r>
            <a:r>
              <a:rPr lang="en-US"/>
              <a:t>.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10FD9B17-7D3A-73D7-A51D-A3A5FF8DA3B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055608" y="1491333"/>
            <a:ext cx="2404872" cy="1371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F9BFC9F-EE6C-AEB4-97F1-A5CE2C4BA2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7669829-F3A9-621E-9905-791E46E27B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64536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9FDF51-3B9F-C5D8-7A84-09B7B6CB9E8B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D3A15A-582D-3DDB-CC40-43726E84CA4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D8F2DF5-DE6F-E2FC-0057-63CC04174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4897430-924B-CB14-9A94-8DB20A76C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15315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_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Purple Blur&#10;">
            <a:extLst>
              <a:ext uri="{FF2B5EF4-FFF2-40B4-BE49-F238E27FC236}">
                <a16:creationId xmlns:a16="http://schemas.microsoft.com/office/drawing/2014/main" id="{20858E9A-CB5D-190B-E115-D040F11CFF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60136"/>
            <a:ext cx="1488559" cy="2713074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21" name="Picture 20" descr="Purple blur&#10;">
            <a:extLst>
              <a:ext uri="{FF2B5EF4-FFF2-40B4-BE49-F238E27FC236}">
                <a16:creationId xmlns:a16="http://schemas.microsoft.com/office/drawing/2014/main" id="{FC072D8F-9413-C0EE-DD0E-94A9EA142E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9200" y="0"/>
            <a:ext cx="1260401" cy="1260401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D6477BC-51B4-390A-0147-95CB7052C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15F930C-ED21-E214-FA54-5737DC24138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05332291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vari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700596"/>
            <a:ext cx="2616200" cy="26050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8666" y="1286134"/>
            <a:ext cx="3923414" cy="43703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64546" y="2179896"/>
            <a:ext cx="2179638" cy="26146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651" y="1775084"/>
            <a:ext cx="2835349" cy="3413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75F403F-1791-E454-1EF7-19537E5F0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1095670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D955803-2C5C-0B5F-11E5-5F0FBB37EA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1095670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10912837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31287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31287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1586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1586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03488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03488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1407840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B84B59E6-DB3C-524C-C721-DF0AEF48CED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D40E92CB-4429-D81E-AE0E-74FA641AF1D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36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36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A1F11A-7C19-9AF1-8D46-17DC6138F6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58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0FF0E1-8D9D-EEE3-60BA-CF73F351DF9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58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565875D-645C-4E8A-84A9-85DA3A7C6D3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970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06FED9F-44EA-A943-059C-C15E1B5FC8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970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61454159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1" y="1"/>
            <a:ext cx="611293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7" y="1"/>
            <a:ext cx="611293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054854403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823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823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163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163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5401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5401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5515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5515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76405489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8CEB80F1-2238-7003-E60A-777E8870D8C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122920" y="1"/>
            <a:ext cx="4069080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081F6261-AB67-5FCE-B3A8-35604F14E2A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1"/>
            <a:ext cx="4069080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B960C74D-5AC8-20B0-B8EC-5A82F42EEBC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061460" y="1"/>
            <a:ext cx="4069080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1E694EF9-63E8-2DD1-855D-8226F0B9D7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2582" y="523036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0AC54D94-5550-35E2-9CBB-6380D1A0559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25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1174A8AE-15FF-5BDD-7685-4FAF6EF23C5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7673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D7025AF-5AD5-E053-39A9-A1C9947284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73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A5C5A44C-A29D-3C27-3B25-9F14C1ECA7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05982" y="5233641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BF15487-07BD-CB9A-E6A8-536C7BB5ED6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05982" y="5620940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63273522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-2" y="1"/>
            <a:ext cx="6117336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C7F119B1-945E-DB84-8CCC-48ECFF66E1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079066" y="1"/>
            <a:ext cx="6117336" cy="47274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D26C75-51C3-5A6C-E9B2-8C5ED2E7DC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3701" y="5223588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CE14F46-9EA2-9FF5-00DF-32589A51A5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43701" y="5610887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624395939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1385887"/>
            <a:ext cx="3044952" cy="33432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049015" y="1"/>
            <a:ext cx="3044952" cy="39719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5642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5642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7EC50B-97F1-95B1-1645-215DA9E1E3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33267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B968DD-CEBD-F381-301F-90981E0D72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33267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98032" y="1000125"/>
            <a:ext cx="3044952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55DC887-581D-F1A6-AE8A-07BF09DACBF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147048" y="1"/>
            <a:ext cx="3044952" cy="4729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7843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7843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05468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905468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5509552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E055866F-C082-4D99-5B4E-3C63986AACF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14713" y="1"/>
            <a:ext cx="5372099" cy="39719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803132" y="1000125"/>
            <a:ext cx="3388868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B4AE85-0F02-5C55-08C2-B0140E9D25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625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E0690-30B8-D5A7-67CF-262217A97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625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21751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21751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1000125"/>
            <a:ext cx="3388868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8048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5" y="0"/>
            <a:ext cx="2371722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E6AE37-FC1E-5269-1E83-C3E9928ED25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7A8488-5F43-686E-E10B-16D16E352E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7DE099-ACDF-D41B-FBC3-5EE9A76F4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7450138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F7055BE-CD0F-6E9E-5992-4C7B9EF5FA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3600000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224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85DA047-547A-0842-A6E4-A652CD4565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700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6497A74-C5CD-1385-9639-CA14C03FB1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7700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C0675C4A-D9A4-1E02-3EA2-91543FBB5E70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0"/>
            <a:ext cx="7810500" cy="49445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98EDDB7-B424-017D-C031-094E73D4E0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415EB96-602E-D431-3713-AB005A9D7B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0892A38E-DB30-CF79-A5B5-0EC6FE038BA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381500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784334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55255" y="1819274"/>
            <a:ext cx="2616200" cy="26050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04812"/>
            <a:ext cx="3779476" cy="421005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D0AD93E-4D95-4081-4F15-A8D7B51D25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758363" y="1484311"/>
            <a:ext cx="2329046" cy="26146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47234" y="893762"/>
            <a:ext cx="2835349" cy="37211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23233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023233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473845-42B3-319E-BAD5-25FF29ECDA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1697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087191E-6D99-69DB-18A5-0987DC62F1F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1697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53600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53600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02154479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67FF5A-BD3B-6823-510D-65EA34CAC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14488"/>
            <a:ext cx="3357562" cy="280987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93A2EB-3C19-9E31-FDC7-914877B94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71874" y="404812"/>
            <a:ext cx="5100639" cy="421005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F0AF10A-A1DF-4170-D2CD-EFCFAB551D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58250" y="893762"/>
            <a:ext cx="3333750" cy="35353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9BD9240-DA34-2B4B-C18E-E31B5F3E2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7999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3FFB4A-48ED-CC59-1A90-5722D0CADC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7999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97C5544-D8B2-9AE0-9BC4-AF92DF9C6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86731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4662A9F-9217-54A8-5072-93ABC9E8D4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86731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1B4FCF2-6DDE-B735-E462-BA93B8E845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15462" y="5105054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B0E7436-EC01-5BA6-ACB7-295FD0FD554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415462" y="5492353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2536228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s_Case_Study_Intro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7248E6C1-AD8D-259C-5340-56A8EC44534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381500" y="419100"/>
            <a:ext cx="7810500" cy="437303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9A18AC36-E872-0FBB-CCDF-E7487C47BE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915459"/>
            <a:ext cx="4114800" cy="3346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D4E9A13-72EC-7795-6682-8E9D5F8847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9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AE7E2F1-8A7E-2749-7C23-12A180BF0CB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9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629CAEA-5BAE-C2BF-C737-48B738207A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81034" y="5233642"/>
            <a:ext cx="2436876" cy="27699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8F9ED73-42C5-93DF-AE80-AD7C5AF1BD6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81034" y="5620941"/>
            <a:ext cx="2400300" cy="18466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12836022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C24334-259C-B34A-CF0B-6328CEB75E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34EEC63-D2A6-A479-4356-E9E6BC1909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B2245E5-D2EB-1450-FEC1-6BEFE1F76A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92261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9D76B9-5EAA-9E63-4059-21E83CD46A10}"/>
              </a:ext>
            </a:extLst>
          </p:cNvPr>
          <p:cNvSpPr/>
          <p:nvPr userDrawn="1"/>
        </p:nvSpPr>
        <p:spPr bwMode="auto">
          <a:xfrm>
            <a:off x="975360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2DA15A-8BB1-B824-E7EF-8D9046513FB2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9A158B8-5C5D-7C73-B048-F98B170D7851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6773BA-924B-BAC6-7D25-ED7A9338BD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83976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2B58C1F-15E1-403E-C8DD-FB7FA7791D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83976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92052136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43804D-BD14-08D3-2752-570DB2A13AC1}"/>
              </a:ext>
            </a:extLst>
          </p:cNvPr>
          <p:cNvSpPr/>
          <p:nvPr userDrawn="1"/>
        </p:nvSpPr>
        <p:spPr bwMode="auto">
          <a:xfrm>
            <a:off x="8393373" y="0"/>
            <a:ext cx="380348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3E35CB-4416-67B4-9A4B-0412315D4979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B57818-3DD1-DA7E-0C01-8FA58F5B3AE9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3EB2ABD-8C1A-2F57-ED12-4A5372D24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6522818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CBC5A8B-D655-9D1E-4EAD-6B7EF3CBD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6522818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0783743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802983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7D9537-B25D-7D96-9993-3FD73B2FDB2F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1EAE48-670D-1E75-E1E5-6E8259532FEE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04B8001-80C4-3060-BD6B-437632BF7C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C73C2D60-2316-60E7-7382-870EBF68A7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51541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CF38BD-32C9-894D-AB81-415CC476EC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A8AE99-B517-8AEB-D5E4-B09D52CA25AF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120F32B-02B9-F0A1-D25E-DE2CDA7F43C0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1749E3-2785-6125-72F4-4CB2CF388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4651156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8F30B81-156F-78DF-062D-E4DD7907F0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4651156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10678911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81500" y="0"/>
            <a:ext cx="78104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0"/>
            <a:ext cx="78105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76621A-DBD8-0204-830A-B611F2C50DB3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F4A5E9B-ED60-9026-0304-CC0E0C50B0BB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A259D8-8F7C-0047-F26B-69BFCE9B0D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2"/>
            <a:ext cx="3477993" cy="343958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524263F-D90D-573F-672D-5622B33EAD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099"/>
            <a:ext cx="3477993" cy="2257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802565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C6BA4E-CBCB-554D-CA98-146A521CFDF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B62B8-4926-8E23-51B4-D8AC31708BB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A808058-9E6F-F0D8-A385-7B4C54766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00513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3D95AB9-CE03-7AFD-DBBE-C67756B35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005137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27351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52DE14-65C1-7956-7013-27CD9E260F56}"/>
              </a:ext>
            </a:extLst>
          </p:cNvPr>
          <p:cNvSpPr/>
          <p:nvPr userDrawn="1"/>
        </p:nvSpPr>
        <p:spPr bwMode="auto">
          <a:xfrm>
            <a:off x="0" y="0"/>
            <a:ext cx="24384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9C365B7-BDA2-A1BA-99C3-FAE4F63E61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5652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9CE349-346A-D8D6-57AD-5723D88B67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51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9E35029-5964-C030-FE93-F157EF1D672E}"/>
              </a:ext>
            </a:extLst>
          </p:cNvPr>
          <p:cNvSpPr txBox="1">
            <a:spLocks/>
          </p:cNvSpPr>
          <p:nvPr userDrawn="1"/>
        </p:nvSpPr>
        <p:spPr>
          <a:xfrm>
            <a:off x="4365652" y="1688770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200" b="1" i="0" spc="0" dirty="0">
                <a:gradFill>
                  <a:gsLst>
                    <a:gs pos="0">
                      <a:schemeClr val="accent3"/>
                    </a:gs>
                    <a:gs pos="45000">
                      <a:schemeClr val="accent3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28229255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0" y="0"/>
            <a:ext cx="3429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29000" y="0"/>
            <a:ext cx="8763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CC0D0B5-8985-C0CF-E031-72C099F136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44169FF-3519-85C9-0F2D-26C1E7EAB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2618014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E92AB95-E16F-C12B-B3CB-DCDED8BB72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2618014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82945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54513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D0723C-92A3-529E-5B7C-80EDBC2622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6416865"/>
            <a:ext cx="488145" cy="1794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80312C7-4EE9-90CF-47E1-087BF0744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1B4920DC-0C83-DBD1-A7BA-450D741C9E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486258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Mockup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CA393A3-BED5-A4B8-2CC9-68028E8F7DD4}"/>
              </a:ext>
            </a:extLst>
          </p:cNvPr>
          <p:cNvSpPr/>
          <p:nvPr userDrawn="1"/>
        </p:nvSpPr>
        <p:spPr bwMode="auto">
          <a:xfrm>
            <a:off x="0" y="0"/>
            <a:ext cx="715645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B52ADC-08BB-44B3-7F3D-505CD63B75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73605A9-1E62-45FD-73A7-1EA66A44C7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347472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0308101-6824-4317-B732-39B094E4FA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47472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7115696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FD4578C-8BBA-DD7F-1D7F-67C3334C400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774416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A330-CF5F-D4FF-CD2A-080F6C253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4C0B584C-264D-F15A-A640-B6C92368769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9271344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8B5D1-87C5-61BA-6ABC-9F6E3E9AB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E3BA6DF-D35D-8AE9-CD66-4B40B4864F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65505180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031EB9-4301-EE33-A136-10068D704D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0D5DF48A-7795-5C2F-2C5D-906BBE607E9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02623422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2FEA1-1FAA-9192-20B8-B721A504E0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632" y="722843"/>
            <a:ext cx="10896600" cy="338554"/>
          </a:xfrm>
          <a:prstGeom prst="rect">
            <a:avLst/>
          </a:prstGeom>
        </p:spPr>
        <p:txBody>
          <a:bodyPr/>
          <a:lstStyle>
            <a:lvl1pPr>
              <a:defRPr lang="en-US" sz="2200" b="1" i="0" kern="1200" spc="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5AB3D60C-8E5E-2148-2617-5229530239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3632" y="419100"/>
            <a:ext cx="3611880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0" i="0" kern="1200" cap="all" spc="300" baseline="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9344445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08710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2F6686-8C0A-120D-0C06-1F8DA97E3C4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65D26-CB94-F414-6836-638151C91C4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910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1035424"/>
            <a:ext cx="46482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7200" b="0">
                <a:gradFill>
                  <a:gsLst>
                    <a:gs pos="0">
                      <a:srgbClr val="00F6FF"/>
                    </a:gs>
                    <a:gs pos="56000">
                      <a:srgbClr val="00FFF0"/>
                    </a:gs>
                    <a:gs pos="100000">
                      <a:srgbClr val="B896FF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7700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700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00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700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7700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647700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6919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447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628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-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482E6-D3AB-B1E7-49AA-38F78E990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2ECB016-E597-CEC6-DEA6-14C2703C3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5BAC0E-43BD-CC5A-0C6D-C6B1338F9405}"/>
              </a:ext>
            </a:extLst>
          </p:cNvPr>
          <p:cNvSpPr txBox="1"/>
          <p:nvPr userDrawn="1"/>
        </p:nvSpPr>
        <p:spPr>
          <a:xfrm>
            <a:off x="10414660" y="6406591"/>
            <a:ext cx="1031030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b="0" i="0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EC402D5-267F-111B-576C-BCFE3B49757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b="0" i="0" smtClean="0">
                <a:solidFill>
                  <a:schemeClr val="bg1"/>
                </a:solidFill>
              </a:rPr>
              <a:pPr lvl="0"/>
              <a:t>‹#›</a:t>
            </a:fld>
            <a:endParaRPr lang="en-US" sz="1000" b="0" i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711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3438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Museo Sans 300" panose="02000000000000000000" pitchFamily="50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  <a:ea typeface="Source Sans Pro" panose="020B0503030403020204" pitchFamily="34" charset="0"/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  <a:ea typeface="Source Sans Pro" panose="020B0503030403020204" pitchFamily="34" charset="0"/>
              </a:rPr>
              <a:pPr lvl="0"/>
              <a:t>‹#›</a:t>
            </a:fld>
            <a:endParaRPr lang="en-US" sz="1000">
              <a:solidFill>
                <a:schemeClr val="tx1"/>
              </a:solidFill>
              <a:ea typeface="Source Sans Pro" panose="020B0503030403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49B833-C00F-0DD0-2E7E-3195E567D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87680"/>
            <a:ext cx="5638799" cy="4572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C4A16A9-BA7C-112D-379A-787855F5D1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231494"/>
            <a:ext cx="3621212" cy="225706"/>
          </a:xfrm>
          <a:prstGeom prst="rect">
            <a:avLst/>
          </a:prstGeom>
        </p:spPr>
        <p:txBody>
          <a:bodyPr lIns="0"/>
          <a:lstStyle>
            <a:lvl1pPr>
              <a:defRPr sz="1000" b="1" cap="all" baseline="0">
                <a:solidFill>
                  <a:schemeClr val="tx2"/>
                </a:solidFill>
                <a:latin typeface="Museo Sans 100" panose="02000000000000000000" pitchFamily="50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06403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29001"/>
            <a:ext cx="2052000" cy="297180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tabLst>
                <a:tab pos="3251200" algn="l"/>
              </a:tabLst>
              <a:defRPr sz="900" b="0" i="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add bio text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911699" y="1454297"/>
            <a:ext cx="1143001" cy="11430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latin typeface="+mn-lt"/>
              </a:defRPr>
            </a:lvl1pPr>
          </a:lstStyle>
          <a:p>
            <a:r>
              <a:rPr lang="en-US"/>
              <a:t>Click icon to add EMPLOYEE PHOTO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2772589"/>
            <a:ext cx="2052000" cy="228601"/>
          </a:xfrm>
        </p:spPr>
        <p:txBody>
          <a:bodyPr anchor="t"/>
          <a:lstStyle>
            <a:lvl1pPr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400" b="0" i="0" baseline="0">
                <a:solidFill>
                  <a:schemeClr val="tx1"/>
                </a:solidFill>
                <a:latin typeface="+mn-lt"/>
                <a:ea typeface="Museo Sans 100" panose="02000000000000000000" pitchFamily="2" charset="77"/>
                <a:cs typeface="Calibri Light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3012647"/>
            <a:ext cx="2052000" cy="24909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900" b="0" i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E0DE85-1B45-A140-954E-2C12858F7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554A0E2-F8B2-714D-B695-EF161564AF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4738" cy="225706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900" b="0" i="0" u="none" strike="noStrike" cap="all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Museo Sans 500" panose="02000000000000000000" pitchFamily="2" charset="77"/>
              </a:defRPr>
            </a:lvl1pPr>
          </a:lstStyle>
          <a:p>
            <a:pPr marR="0" lvl="0" fontAlgn="auto">
              <a:buClrTx/>
              <a:buSzTx/>
              <a:tabLst/>
            </a:pPr>
            <a:r>
              <a:rPr lang="en-US"/>
              <a:t>Click to add section titl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34522464-77B9-B94E-99A6-7D3A855332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56209" y="3429000"/>
            <a:ext cx="2052000" cy="297180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tabLst>
                <a:tab pos="3251200" algn="l"/>
              </a:tabLst>
              <a:defRPr sz="900" b="0" i="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add bio text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B1D72DB-8C6D-EE46-BB6A-6A7E17F17C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205186" y="1454296"/>
            <a:ext cx="1143001" cy="11430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latin typeface="+mn-lt"/>
              </a:defRPr>
            </a:lvl1pPr>
          </a:lstStyle>
          <a:p>
            <a:r>
              <a:rPr lang="en-US"/>
              <a:t>Click icon to add EMPLOYEE PHOTO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F4236F00-BDFD-BA4F-A156-534D15792B5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56209" y="2772588"/>
            <a:ext cx="2052000" cy="228601"/>
          </a:xfrm>
        </p:spPr>
        <p:txBody>
          <a:bodyPr anchor="t"/>
          <a:lstStyle>
            <a:lvl1pPr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400" b="0" i="0" baseline="0">
                <a:solidFill>
                  <a:schemeClr val="tx1"/>
                </a:solidFill>
                <a:latin typeface="+mn-lt"/>
                <a:ea typeface="Museo Sans 100" panose="02000000000000000000" pitchFamily="2" charset="77"/>
                <a:cs typeface="Calibri Light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FC81128A-2F6A-7E4B-A38B-70484BF0084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756209" y="3012646"/>
            <a:ext cx="2052000" cy="24909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900" b="0" i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0A6865B7-8172-0042-8615-C6E540D2435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5218" y="3429000"/>
            <a:ext cx="2052000" cy="297180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tabLst>
                <a:tab pos="3251200" algn="l"/>
              </a:tabLst>
              <a:defRPr sz="900" b="0" i="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add bio text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7ECE52E4-84FB-7C4B-9322-F3694C91CD2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509717" y="1454296"/>
            <a:ext cx="1143001" cy="11430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latin typeface="+mn-lt"/>
              </a:defRPr>
            </a:lvl1pPr>
          </a:lstStyle>
          <a:p>
            <a:r>
              <a:rPr lang="en-US"/>
              <a:t>Click icon to add EMPLOYEE PHOTO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B20D0EE7-409F-924B-BD12-E9DDA6EB5E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55218" y="2772588"/>
            <a:ext cx="2052000" cy="228601"/>
          </a:xfrm>
        </p:spPr>
        <p:txBody>
          <a:bodyPr anchor="t"/>
          <a:lstStyle>
            <a:lvl1pPr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400" b="0" i="0" baseline="0">
                <a:solidFill>
                  <a:schemeClr val="tx1"/>
                </a:solidFill>
                <a:latin typeface="+mn-lt"/>
                <a:ea typeface="Museo Sans 100" panose="02000000000000000000" pitchFamily="2" charset="77"/>
                <a:cs typeface="Calibri Light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7D801EBE-1184-F24A-B7B3-218BF54CD8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55218" y="3012646"/>
            <a:ext cx="2052000" cy="24909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900" b="0" i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3CE88388-29E7-F849-8CB4-6C710F60EC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54227" y="3429000"/>
            <a:ext cx="2052000" cy="297180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tabLst>
                <a:tab pos="3251200" algn="l"/>
              </a:tabLst>
              <a:defRPr sz="900" b="0" i="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add bio text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B9A6E1CE-30F7-5240-9AF7-4DF7D1FB3C2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808726" y="1454296"/>
            <a:ext cx="1143001" cy="11430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latin typeface="+mn-lt"/>
              </a:defRPr>
            </a:lvl1pPr>
          </a:lstStyle>
          <a:p>
            <a:r>
              <a:rPr lang="en-US"/>
              <a:t>Click icon to add EMPLOYEE PHOTO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C0D4BC85-D8FC-8040-9580-1F258C667F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54227" y="2772588"/>
            <a:ext cx="2052000" cy="228601"/>
          </a:xfrm>
        </p:spPr>
        <p:txBody>
          <a:bodyPr anchor="t"/>
          <a:lstStyle>
            <a:lvl1pPr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400" b="0" i="0" baseline="0">
                <a:solidFill>
                  <a:schemeClr val="tx1"/>
                </a:solidFill>
                <a:latin typeface="+mn-lt"/>
                <a:ea typeface="Museo Sans 100" panose="02000000000000000000" pitchFamily="2" charset="77"/>
                <a:cs typeface="Calibri Light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0092E4C6-891A-7649-95E7-238E2435220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54227" y="3012646"/>
            <a:ext cx="2052000" cy="24909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900" b="0" i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F72B6D50-844B-DA42-892F-0D796389A8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53236" y="3429000"/>
            <a:ext cx="2052000" cy="297180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tabLst>
                <a:tab pos="3251200" algn="l"/>
              </a:tabLst>
              <a:defRPr sz="900" b="0" i="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add bio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229697C-7653-4246-899F-FA38A8CB6A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53236" y="2772588"/>
            <a:ext cx="2052000" cy="228601"/>
          </a:xfrm>
        </p:spPr>
        <p:txBody>
          <a:bodyPr anchor="t"/>
          <a:lstStyle>
            <a:lvl1pPr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400" b="0" i="0" baseline="0">
                <a:solidFill>
                  <a:schemeClr val="tx1"/>
                </a:solidFill>
                <a:latin typeface="+mn-lt"/>
                <a:ea typeface="Museo Sans 100" panose="02000000000000000000" pitchFamily="2" charset="77"/>
                <a:cs typeface="Calibri Light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DD81E9AA-A47B-8B40-B9C1-A0C3A6A7A9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53236" y="3012646"/>
            <a:ext cx="2052000" cy="24909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900" b="0" i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730959AE-5F51-3E43-90E9-11BDC78EE17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10107735" y="1454296"/>
            <a:ext cx="1143001" cy="11430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latin typeface="+mn-lt"/>
              </a:defRPr>
            </a:lvl1pPr>
          </a:lstStyle>
          <a:p>
            <a:r>
              <a:rPr lang="en-US"/>
              <a:t>Click icon to add EMPLOYEE PHOTO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1119CEF-9126-425E-AFF8-FD17DAE3962F}"/>
              </a:ext>
            </a:extLst>
          </p:cNvPr>
          <p:cNvSpPr/>
          <p:nvPr userDrawn="1"/>
        </p:nvSpPr>
        <p:spPr bwMode="auto">
          <a:xfrm>
            <a:off x="0" y="0"/>
            <a:ext cx="60960" cy="51680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3200" b="0" i="0" err="1">
              <a:solidFill>
                <a:srgbClr val="39C2D7"/>
              </a:solidFill>
              <a:latin typeface="Source Sans Pro" panose="020B050303040302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3064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213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TEMPLA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6624D-6291-9649-915C-FDAF87BA6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485" y="667051"/>
            <a:ext cx="4334583" cy="10424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F8976E3-6EBF-8746-AABB-8F2872BE76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75565" y="-1"/>
            <a:ext cx="6816436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3C2CB0-384E-C64B-AFF3-415C5C9A7D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0485" y="2006301"/>
            <a:ext cx="4334583" cy="4184649"/>
          </a:xfrm>
        </p:spPr>
        <p:txBody>
          <a:bodyPr/>
          <a:lstStyle>
            <a:lvl1pPr marL="10584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lang="en-US" sz="1333" b="1" kern="1200" dirty="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41294" indent="-241294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lang="en-GB" sz="1333" b="0" kern="1200" dirty="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7708" indent="-234945">
              <a:tabLst/>
              <a:defRPr lang="en-US" sz="1200" b="0" kern="120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2FEA3-4039-1B42-96DB-6AD7CD6A65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1219170">
              <a:spcAft>
                <a:spcPts val="400"/>
              </a:spcAft>
            </a:pPr>
            <a:fld id="{3A707DD9-E92B-45E8-BE0A-E6B2EDF345EB}" type="slidenum">
              <a:rPr lang="en-GB" smtClean="0"/>
              <a:pPr defTabSz="1219170">
                <a:spcAft>
                  <a:spcPts val="400"/>
                </a:spcAft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2162340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70CA8-AE5E-9144-B51A-3DB9B2B912F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2E37B5-D917-F347-A92A-FFF42F041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B879C7-3885-2143-A73F-46BF2685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C884B43-5420-8A44-BD3B-D88B17EDD05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882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37B4F039-C58D-468E-394C-C92CD517A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Content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BDF361-F375-D313-8D06-BDA2782784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BC6E842-5D88-CC5C-F1DA-808D61BEE7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D37A923-9C8E-6CA3-1F51-1680DBD253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B5EB1A-8556-A82E-AC69-301BA431D9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E3B50A-6363-7824-DFC1-3035609DF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3E6F179-1003-654A-7321-F8FE6D12AC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A7166E3-13D7-44C2-45BA-F8800FCD1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42EBD53-BF92-55A6-E85A-50AD5A80A5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1709A76-8AD3-E8A8-447B-E2C8D00A4A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A4DA4A4-AEAC-105E-34C0-12EBA35F10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6DD83F2-9BFD-E0B8-4706-D7200B45DE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D94FEEB-2EA8-081B-0B69-F0ED7A8348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172755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02B5D-C175-DE3C-BEC7-EB4A41870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106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93C67F9-F2A6-3918-0A8D-555112C9F4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382446"/>
            <a:ext cx="2695074" cy="207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65981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4_Title &amp; Body_1 Col">
  <p:cSld name="04_Title &amp; Body_1 Col">
    <p:bg>
      <p:bgPr>
        <a:solidFill>
          <a:srgbClr val="FFFFFF"/>
        </a:solidFill>
        <a:effectLst/>
      </p:bgPr>
    </p:bg>
    <p:spTree>
      <p:nvGrpSpPr>
        <p:cNvPr id="1" name="Shape 4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5" name="Google Shape;4285;p479"/>
          <p:cNvSpPr txBox="1">
            <a:spLocks noGrp="1"/>
          </p:cNvSpPr>
          <p:nvPr>
            <p:ph type="title"/>
          </p:nvPr>
        </p:nvSpPr>
        <p:spPr>
          <a:xfrm>
            <a:off x="609600" y="609600"/>
            <a:ext cx="7278800" cy="1328800"/>
          </a:xfrm>
          <a:prstGeom prst="rect">
            <a:avLst/>
          </a:prstGeom>
        </p:spPr>
        <p:txBody>
          <a:bodyPr spcFirstLastPara="1" wrap="square" lIns="0" tIns="0" rIns="91425" bIns="0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9pPr>
          </a:lstStyle>
          <a:p>
            <a:endParaRPr/>
          </a:p>
        </p:txBody>
      </p:sp>
      <p:sp>
        <p:nvSpPr>
          <p:cNvPr id="4286" name="Google Shape;4286;p479"/>
          <p:cNvSpPr txBox="1">
            <a:spLocks noGrp="1"/>
          </p:cNvSpPr>
          <p:nvPr>
            <p:ph type="body" idx="1"/>
          </p:nvPr>
        </p:nvSpPr>
        <p:spPr>
          <a:xfrm>
            <a:off x="609600" y="2048256"/>
            <a:ext cx="5437600" cy="4206400"/>
          </a:xfrm>
          <a:prstGeom prst="rect">
            <a:avLst/>
          </a:prstGeom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389457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1pPr>
            <a:lvl2pPr marL="1219170" lvl="1" indent="-389457" rtl="0">
              <a:lnSpc>
                <a:spcPct val="150000"/>
              </a:lnSpc>
              <a:spcBef>
                <a:spcPts val="1333"/>
              </a:spcBef>
              <a:spcAft>
                <a:spcPts val="0"/>
              </a:spcAft>
              <a:buSzPts val="1000"/>
              <a:buChar char="○"/>
              <a:defRPr/>
            </a:lvl2pPr>
            <a:lvl3pPr marL="1828754" lvl="2" indent="-389457" rtl="0">
              <a:lnSpc>
                <a:spcPct val="150000"/>
              </a:lnSpc>
              <a:spcBef>
                <a:spcPts val="1333"/>
              </a:spcBef>
              <a:spcAft>
                <a:spcPts val="0"/>
              </a:spcAft>
              <a:buSzPts val="1000"/>
              <a:buChar char="■"/>
              <a:defRPr/>
            </a:lvl3pPr>
            <a:lvl4pPr marL="2438339" lvl="3" indent="-389457" rtl="0">
              <a:lnSpc>
                <a:spcPct val="150000"/>
              </a:lnSpc>
              <a:spcBef>
                <a:spcPts val="1333"/>
              </a:spcBef>
              <a:spcAft>
                <a:spcPts val="0"/>
              </a:spcAft>
              <a:buSzPts val="1000"/>
              <a:buChar char="●"/>
              <a:defRPr/>
            </a:lvl4pPr>
            <a:lvl5pPr marL="3047924" lvl="4" indent="-389457" rtl="0">
              <a:lnSpc>
                <a:spcPct val="150000"/>
              </a:lnSpc>
              <a:spcBef>
                <a:spcPts val="1333"/>
              </a:spcBef>
              <a:spcAft>
                <a:spcPts val="0"/>
              </a:spcAft>
              <a:buSzPts val="1000"/>
              <a:buChar char="○"/>
              <a:defRPr/>
            </a:lvl5pPr>
            <a:lvl6pPr marL="3657509" lvl="5" indent="-389457" rtl="0">
              <a:lnSpc>
                <a:spcPct val="150000"/>
              </a:lnSpc>
              <a:spcBef>
                <a:spcPts val="1333"/>
              </a:spcBef>
              <a:spcAft>
                <a:spcPts val="0"/>
              </a:spcAft>
              <a:buSzPts val="1000"/>
              <a:buChar char="■"/>
              <a:defRPr/>
            </a:lvl6pPr>
            <a:lvl7pPr marL="4267093" lvl="6" indent="-389457" rtl="0">
              <a:lnSpc>
                <a:spcPct val="150000"/>
              </a:lnSpc>
              <a:spcBef>
                <a:spcPts val="1333"/>
              </a:spcBef>
              <a:spcAft>
                <a:spcPts val="0"/>
              </a:spcAft>
              <a:buSzPts val="1000"/>
              <a:buChar char="●"/>
              <a:defRPr/>
            </a:lvl7pPr>
            <a:lvl8pPr marL="4876678" lvl="7" indent="-389457" rtl="0">
              <a:lnSpc>
                <a:spcPct val="150000"/>
              </a:lnSpc>
              <a:spcBef>
                <a:spcPts val="1333"/>
              </a:spcBef>
              <a:spcAft>
                <a:spcPts val="0"/>
              </a:spcAft>
              <a:buSzPts val="1000"/>
              <a:buChar char="○"/>
              <a:defRPr/>
            </a:lvl8pPr>
            <a:lvl9pPr marL="5486263" lvl="8" indent="-389457" rtl="0">
              <a:lnSpc>
                <a:spcPct val="150000"/>
              </a:lnSpc>
              <a:spcBef>
                <a:spcPts val="1333"/>
              </a:spcBef>
              <a:spcAft>
                <a:spcPts val="1333"/>
              </a:spcAft>
              <a:buSzPts val="10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562580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4_MAIN_SLIDE_NO LOGO">
  <p:cSld name="04_MAIN_SLIDE_NO LOGO">
    <p:bg>
      <p:bgPr>
        <a:solidFill>
          <a:srgbClr val="FFFFFF"/>
        </a:solid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4"/>
          <p:cNvSpPr txBox="1">
            <a:spLocks noGrp="1"/>
          </p:cNvSpPr>
          <p:nvPr>
            <p:ph type="title"/>
          </p:nvPr>
        </p:nvSpPr>
        <p:spPr>
          <a:xfrm>
            <a:off x="609600" y="609600"/>
            <a:ext cx="11044000" cy="367200"/>
          </a:xfrm>
          <a:prstGeom prst="rect">
            <a:avLst/>
          </a:prstGeom>
        </p:spPr>
        <p:txBody>
          <a:bodyPr spcFirstLastPara="1" wrap="square" lIns="0" tIns="0" rIns="91425" bIns="0" anchor="t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>
                <a:latin typeface="Google Sans"/>
                <a:ea typeface="Google Sans"/>
                <a:cs typeface="Google Sans"/>
                <a:sym typeface="Google San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2410572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4955F73-BCD8-4858-BDA2-D30A6DDD9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568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DB3700-A2AA-CC46-AB06-739575CE119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8F2DB0F-A762-9841-A4D7-8B6F3D5251E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964562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9EA3FB-C095-0948-83CD-4F812F3CA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33554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esale_AGENDA_blank">
  <p:cSld name="Presale_AGENDA_blank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16"/>
          <p:cNvSpPr>
            <a:spLocks noGrp="1"/>
          </p:cNvSpPr>
          <p:nvPr>
            <p:ph type="pic" idx="2"/>
          </p:nvPr>
        </p:nvSpPr>
        <p:spPr>
          <a:xfrm>
            <a:off x="7112000" y="0"/>
            <a:ext cx="5080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352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-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4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5" name="Google Shape;115;p16"/>
          <p:cNvSpPr txBox="1">
            <a:spLocks noGrp="1"/>
          </p:cNvSpPr>
          <p:nvPr>
            <p:ph type="title"/>
          </p:nvPr>
        </p:nvSpPr>
        <p:spPr>
          <a:xfrm>
            <a:off x="480487" y="300785"/>
            <a:ext cx="5920315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" name="Google Shape;116;p16"/>
          <p:cNvSpPr txBox="1">
            <a:spLocks noGrp="1"/>
          </p:cNvSpPr>
          <p:nvPr>
            <p:ph type="sldNum" idx="12"/>
          </p:nvPr>
        </p:nvSpPr>
        <p:spPr>
          <a:xfrm>
            <a:off x="9780694" y="6537017"/>
            <a:ext cx="1962151" cy="243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25" tIns="34275" rIns="6852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693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75646795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03936-AD1E-BD44-91CB-919F81D7BFEC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D1BED4F-175D-FF44-A003-4A5C8D212304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90E848-D90D-3040-B1C3-7D33F1A7A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EAA2BB-1929-1344-BB72-B8696E5C9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C52A15-EBCB-2E4D-B9B0-C28E4B5B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094631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713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8F7C9BE-11D6-47CB-87A0-5198724FF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6788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9" progId="TCLayout.ActiveDocument.1">
                  <p:embed/>
                </p:oleObj>
              </mc:Choice>
              <mc:Fallback>
                <p:oleObj name="think-cell Folie" r:id="rId3" imgW="353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8F7C9BE-11D6-47CB-87A0-5198724FF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2600"/>
            </a:lvl1pPr>
          </a:lstStyle>
          <a:p>
            <a:r>
              <a:rPr lang="en-GB" noProof="0"/>
              <a:t>Headline for Agenda in CorpoS (Body) 35 pt. </a:t>
            </a:r>
            <a:br>
              <a:rPr lang="en-GB" noProof="0"/>
            </a:br>
            <a:r>
              <a:rPr lang="en-GB" noProof="0"/>
              <a:t>one or two lines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MBM x CORE | Proposal: Outsourcing Management | Remote, 18.04.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1F5BEB-3A0F-4926-9BCF-C42D562D36B4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804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19581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 txBox="1">
            <a:spLocks noGrp="1"/>
          </p:cNvSpPr>
          <p:nvPr>
            <p:ph type="title" hasCustomPrompt="1"/>
          </p:nvPr>
        </p:nvSpPr>
        <p:spPr>
          <a:xfrm>
            <a:off x="335281" y="476249"/>
            <a:ext cx="9601555" cy="6858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bearbeiten</a:t>
            </a:r>
            <a:r>
              <a:rPr lang="en-US"/>
              <a:t> (Arial, 20 </a:t>
            </a:r>
            <a:r>
              <a:rPr lang="en-US" err="1"/>
              <a:t>pt</a:t>
            </a:r>
            <a:r>
              <a:rPr lang="en-US"/>
              <a:t>, </a:t>
            </a:r>
            <a:r>
              <a:rPr lang="en-US" err="1"/>
              <a:t>fett</a:t>
            </a:r>
            <a:r>
              <a:rPr lang="en-US"/>
              <a:t>, 0|0|0)</a:t>
            </a:r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5280" y="6436194"/>
            <a:ext cx="11444819" cy="123111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 marL="0" indent="0">
              <a:buNone/>
              <a:defRPr lang="de-DE" sz="800" kern="1200" dirty="0">
                <a:latin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Quelle</a:t>
            </a:r>
            <a:endParaRPr lang="en-US"/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335280" y="6615110"/>
            <a:ext cx="9850971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spAutoFit/>
          </a:bodyPr>
          <a:lstStyle>
            <a:lvl1pPr>
              <a:defRPr lang="de-DE" sz="800" b="0" i="0" u="none" strike="noStrike" cap="none" spc="0" baseline="0">
                <a:solidFill>
                  <a:srgbClr val="4C575F"/>
                </a:solidFill>
                <a:uFillTx/>
                <a:latin typeface="Arial" pitchFamily="34"/>
              </a:defRPr>
            </a:lvl1pPr>
          </a:lstStyle>
          <a:p>
            <a:pPr defTabSz="912785">
              <a:tabLst>
                <a:tab pos="474653" algn="l"/>
              </a:tabLst>
            </a:pPr>
            <a:r>
              <a:rPr lang="en-US"/>
              <a:t>Confidential | COREmaster |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93224764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719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1045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2/3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91228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667323A-6698-B4F8-D2C4-A0336BD7A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063" y="722843"/>
            <a:ext cx="1092993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/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>
                <a:effectLst/>
              </a:rPr>
              <a:t>Title Goes Here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4BE38F8-DEB6-5998-7EB6-840C179B2E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063" y="419100"/>
            <a:ext cx="3632517" cy="22570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lang="en-US" sz="1000" b="1" i="0" kern="1200" cap="all" spc="300" baseline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42811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ck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C4310A2F-1AF5-D8AF-CDAC-87B8538EBF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F948F4A-3744-74B3-C3DB-1ADA6276A34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4000">
                <a:srgbClr val="000000">
                  <a:alpha val="70000"/>
                </a:srgbClr>
              </a:gs>
              <a:gs pos="68000">
                <a:schemeClr val="accent1">
                  <a:lumMod val="70000"/>
                  <a:alpha val="30000"/>
                </a:schemeClr>
              </a:gs>
            </a:gsLst>
            <a:lin ang="1800000" scaled="0"/>
            <a:tileRect/>
          </a:gra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GB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51695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931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54523F-EFD3-EDB0-4AF0-FB2421CCF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DB8D92B-BDD7-86B1-A31A-C3740736BA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67579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748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8464220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71241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92964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185420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92964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185420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92964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185420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235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Mock Up Left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69C4A8F-5B1E-7B0E-CAF7-B9F33D92C84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D6F42AB-F517-759C-A3C4-63443ED77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4E9D77-5CF8-5131-6018-48DF58117EC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34280A7-4796-759A-6B00-0444E865A6A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276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F219C23-5248-6A23-1656-7F24D37DB2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D0F7879-EF16-5C25-BC5F-DF85AD10BA3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7931746-EE72-E501-E583-1218E82991F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603130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2/3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463925-928E-4FE1-B9E5-B83141A2C221}"/>
              </a:ext>
            </a:extLst>
          </p:cNvPr>
          <p:cNvSpPr/>
          <p:nvPr userDrawn="1"/>
        </p:nvSpPr>
        <p:spPr bwMode="auto">
          <a:xfrm>
            <a:off x="-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69AD5E-5F94-E6C0-0DB3-77E8A5A0D3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3DBF0C-CA25-003D-B5D8-6EE24C1F808C}"/>
              </a:ext>
            </a:extLst>
          </p:cNvPr>
          <p:cNvSpPr txBox="1"/>
          <p:nvPr userDrawn="1"/>
        </p:nvSpPr>
        <p:spPr>
          <a:xfrm>
            <a:off x="10048874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97B36E0-E687-34C7-ACB3-F681FF77C582}"/>
              </a:ext>
            </a:extLst>
          </p:cNvPr>
          <p:cNvSpPr txBox="1">
            <a:spLocks/>
          </p:cNvSpPr>
          <p:nvPr userDrawn="1"/>
        </p:nvSpPr>
        <p:spPr>
          <a:xfrm>
            <a:off x="11498093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799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-1/2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6C5343-68AD-9879-2727-7ECBCB6A1B23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EF0FAA-381C-3A89-42AF-830EF59119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56236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24921F-F7DB-7A40-465F-85F610FC20C6}"/>
              </a:ext>
            </a:extLst>
          </p:cNvPr>
          <p:cNvSpPr txBox="1"/>
          <p:nvPr userDrawn="1"/>
        </p:nvSpPr>
        <p:spPr>
          <a:xfrm>
            <a:off x="10048875" y="6423925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F018D9-6B5F-8BCB-BD75-7816BF58C56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23926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384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8602C-44B3-BC49-9A95-117B88CDD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31540B-6746-064D-85E6-5D1B840763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>
                <a:latin typeface="Calibri Regular" panose="020F0502020204030204" pitchFamily="34" charset="0"/>
                <a:cs typeface="Calibri Regular" panose="020F0502020204030204" pitchFamily="34" charset="0"/>
              </a:defRPr>
            </a:lvl1pPr>
          </a:lstStyle>
          <a:p>
            <a:endParaRPr lang="en-US" kern="0" spc="20">
              <a:solidFill>
                <a:srgbClr val="CCCC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394325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B59CA49-824C-BEB7-E8D2-4744AFF31B93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gradFill>
            <a:gsLst>
              <a:gs pos="0">
                <a:srgbClr val="17202B"/>
              </a:gs>
              <a:gs pos="100000">
                <a:srgbClr val="24313F"/>
              </a:gs>
            </a:gsLst>
            <a:lin ang="13500000" scaled="1"/>
          </a:gra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HU" sz="2400">
              <a:solidFill>
                <a:schemeClr val="bg1"/>
              </a:solidFill>
              <a:latin typeface="Museo Sans 300" panose="02000000000000000000" pitchFamily="50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B671828-BA12-A666-84C8-B490CEC834CD}"/>
              </a:ext>
            </a:extLst>
          </p:cNvPr>
          <p:cNvCxnSpPr/>
          <p:nvPr userDrawn="1"/>
        </p:nvCxnSpPr>
        <p:spPr>
          <a:xfrm>
            <a:off x="1118159" y="6392989"/>
            <a:ext cx="0" cy="22472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86C29E1-0857-6695-12FE-969B6179A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87680"/>
            <a:ext cx="3844926" cy="4572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4F38C41-7074-9BCC-266F-177E14F081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231494"/>
            <a:ext cx="3621212" cy="225706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000" b="1" cap="all" baseline="0">
                <a:solidFill>
                  <a:schemeClr val="tx2"/>
                </a:solidFill>
                <a:latin typeface="Museo Sans 100" panose="02000000000000000000" pitchFamily="50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5289D37-6903-6BD3-68FF-F6717E069B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 bwMode="auto">
          <a:xfrm>
            <a:off x="1238578" y="6384889"/>
            <a:ext cx="587612" cy="226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674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724" y="944880"/>
            <a:ext cx="11274552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25EC2720-65A5-06D4-6FA7-CD0FC6894E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231494"/>
            <a:ext cx="3621212" cy="225706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000" b="1" cap="all" baseline="0">
                <a:solidFill>
                  <a:schemeClr val="tx2"/>
                </a:solidFill>
                <a:latin typeface="Museo Sans 100" panose="02000000000000000000" pitchFamily="50" charset="0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2A7A54-5117-959E-2AA2-BE43DFB25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2831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28600"/>
            <a:ext cx="6999668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1" cap="all" spc="300" baseline="0">
                <a:gradFill>
                  <a:gsLst>
                    <a:gs pos="0">
                      <a:schemeClr val="accent6"/>
                    </a:gs>
                    <a:gs pos="100000">
                      <a:schemeClr val="accent6">
                        <a:lumMod val="50000"/>
                      </a:schemeClr>
                    </a:gs>
                  </a:gsLst>
                  <a:lin ang="0" scaled="1"/>
                </a:gradFill>
                <a:effectLst/>
                <a:cs typeface="Calibri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65BF58-B454-DAC7-41CF-F3810F95F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730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753209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Source Sans Pro Light" panose="020B040303040302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b="0" i="0">
                <a:solidFill>
                  <a:schemeClr val="bg1"/>
                </a:solidFill>
                <a:ea typeface="Source Sans Pro Light" panose="020B0403030403020204" pitchFamily="34" charset="0"/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b="0" i="0">
                <a:solidFill>
                  <a:schemeClr val="bg1"/>
                </a:solidFill>
                <a:ea typeface="Source Sans Pro Light" panose="020B0403030403020204" pitchFamily="34" charset="0"/>
              </a:rPr>
              <a:pPr lvl="0"/>
              <a:t>‹#›</a:t>
            </a:fld>
            <a:endParaRPr lang="en-US" sz="1000" b="0" i="0">
              <a:solidFill>
                <a:schemeClr val="bg1"/>
              </a:solidFill>
              <a:ea typeface="Source Sans Pro Light" panose="020B0403030403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11C975-69AE-EB17-55D3-DE3A34A3D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586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91429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135">
          <p15:clr>
            <a:srgbClr val="FBAE40"/>
          </p15:clr>
        </p15:guide>
        <p15:guide id="3" pos="4407">
          <p15:clr>
            <a:srgbClr val="FBAE40"/>
          </p15:clr>
        </p15:guide>
        <p15:guide id="4" pos="1621">
          <p15:clr>
            <a:srgbClr val="FBAE40"/>
          </p15:clr>
        </p15:guide>
        <p15:guide id="5" pos="1348">
          <p15:clr>
            <a:srgbClr val="FBAE40"/>
          </p15:clr>
        </p15:guide>
        <p15:guide id="6" pos="4272">
          <p15:clr>
            <a:srgbClr val="FDE53C"/>
          </p15:clr>
        </p15:guide>
        <p15:guide id="7" pos="1488">
          <p15:clr>
            <a:srgbClr val="FDE53C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b="0" i="0">
              <a:solidFill>
                <a:schemeClr val="bg1"/>
              </a:solidFill>
              <a:latin typeface="MuseoSans" panose="02000000000000000000" pitchFamily="2" charset="77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CD1A6DC-A2A4-2834-F4B0-9014CDF15B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228600"/>
            <a:ext cx="3611880" cy="225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000" b="0" i="0" cap="all" spc="30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905756B-6A17-6252-7B5D-6B70550FD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515767"/>
            <a:ext cx="3611879" cy="67710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213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879056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right light in the dark&#10;&#10;Description automatically generated with medium confidence">
            <a:extLst>
              <a:ext uri="{FF2B5EF4-FFF2-40B4-BE49-F238E27FC236}">
                <a16:creationId xmlns:a16="http://schemas.microsoft.com/office/drawing/2014/main" id="{292D94B7-0233-C940-0B7E-BB187340B7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48AADE-3723-5675-1E93-91E2083DA9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2020841-C9E1-4289-E94E-04CC0C8D6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E233166-418F-6386-079E-CEDA3BF98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C7376-20F0-E0B1-E7D5-414FC5DC35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63026"/>
      </p:ext>
    </p:extLst>
  </p:cSld>
  <p:clrMapOvr>
    <a:masterClrMapping/>
  </p:clrMapOvr>
  <p:hf hdr="0" dt="0"/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BD2E969-F100-6B32-8DFD-11A45E5E4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67B491-F517-CB8D-96B1-B02A50D723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30FF820-B532-1296-E817-DF961B67D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54D4BD-6E7A-841D-F70C-31FAEF56CD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013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0094E5E-6EFF-CE7E-D775-2FA95EEE2F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309027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E632B84-D810-D682-26F1-538579099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30902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6BD730-15BB-8DAE-B807-85A733E0F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531163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229A6F-36FA-05D5-E223-1581D31CE2D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988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65775993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37B4F039-C58D-468E-394C-C92CD517A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Content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BDF361-F375-D313-8D06-BDA2782784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BC6E842-5D88-CC5C-F1DA-808D61BEE7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D37A923-9C8E-6CA3-1F51-1680DBD253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B5EB1A-8556-A82E-AC69-301BA431D9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E3B50A-6363-7824-DFC1-3035609DF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3E6F179-1003-654A-7321-F8FE6D12AC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A7166E3-13D7-44C2-45BA-F8800FCD1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42EBD53-BF92-55A6-E85A-50AD5A80A5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1709A76-8AD3-E8A8-447B-E2C8D00A4A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A4DA4A4-AEAC-105E-34C0-12EBA35F10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6DD83F2-9BFD-E0B8-4706-D7200B45DE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D94FEEB-2EA8-081B-0B69-F0ED7A8348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17957975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49D503E-C57A-9E5B-19CF-94AF46BB63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BD3FFC-05D4-6AF7-0434-C1AC0298E5C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0952C60-604F-9F1A-9D20-17D094CE48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D164F81-CDD1-C1B4-ED55-A3321E1032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DF71D53-1D3F-D8F8-96D5-6DE13F1A9C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42F11AF-BF37-8BBB-B5E7-A8655CF947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73960913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Agenda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04C027E-E5F6-C4D1-7BE4-B87D52F48E6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696A0CB-1C78-8CBF-08C6-7CD08CF1D191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28107B5-87E9-D299-9F61-658CFC39E3B4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72B4D0-A39C-FAF6-B1FC-E813800600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00A134C-93F9-0B06-D8F4-9B3C7532A4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37B92C4-122A-5377-7B74-D58A2319E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28A167B-CD8D-159B-58DB-AD9C0600F6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3238DD8-4A7D-554B-8216-37EA1F02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D58AB5-54CF-F584-79F8-821E69DF60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367AC01-84C2-7E8C-3BF8-201856803E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1A9C8-7F43-7DB1-4F91-53075745C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46C8629B-DFA8-41AA-9C67-96D3D02BED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1CC2B96-A6B1-5232-3AEE-F9B7FDBBC1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7A18B250-73F5-69E3-5878-B1D8C984F4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62FE180-ECE1-55D7-0248-053AC1E99B1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262174773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Header_Custom_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19866F5-F57A-6C40-4D30-D67CB6A3D2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0EC5345-D2D0-6B03-7DDB-B62AB6432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B32F50E-D900-4FFA-87A8-502151FBE2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BA73176-A11D-D62A-EC12-39C3DF983B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ED43E1-5036-AF03-3AFC-AC404D716E48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4AFFE7B-BAB3-2BE6-68C7-82413494811D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11598"/>
      </p:ext>
    </p:extLst>
  </p:cSld>
  <p:clrMapOvr>
    <a:masterClrMapping/>
  </p:clrMapOvr>
  <p:hf hdr="0" dt="0"/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Header_Custiom_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5BDBBF2-452B-8A53-D3BC-946EEC403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CA620CE-1B8B-D388-B43E-902BAFDB8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B21D373-42F2-86AB-3F79-81C1BE3482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720EBE-A59D-52D5-044F-DF5C07F83D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F31129-9154-6101-E99F-40D9C428A70F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7BD8E2-6131-A98D-36C8-080B716E4D6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938825"/>
      </p:ext>
    </p:extLst>
  </p:cSld>
  <p:clrMapOvr>
    <a:masterClrMapping/>
  </p:clrMapOvr>
  <p:hf hdr="0" dt="0"/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Header_Custiom_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BEA6F8A-F8D2-0E03-127C-C4C39351E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86F72EA-0ABE-9A8E-4E77-930AA5496A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5E6E347-3D84-596D-2504-6BB7F34831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5684E56-61FE-0760-81FB-D738FF31CE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AFDEA9-4B5D-18D7-3B7C-ADC156E9EFCF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818241-0582-A630-8CB0-7598682D85EA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30460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851675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Header_Custiom_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8956E04-CBD7-E482-8975-949516BE3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DF04DE8-18FA-CC1C-A2E5-416F24CA08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BD1EAAB-FF14-59B6-EB7C-E327DBE47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3ED1D57-42C1-01EC-FDEC-8930A13F02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A158379-42B6-CCBC-ACEF-3055CDBB2DD6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C1715E-3786-F104-88AB-8B85E2F6D918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141073"/>
      </p:ext>
    </p:extLst>
  </p:cSld>
  <p:clrMapOvr>
    <a:masterClrMapping/>
  </p:clrMapOvr>
  <p:hf hdr="0" dt="0"/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CBC286D-0325-2652-6DE3-BC17B7921CDE}"/>
              </a:ext>
            </a:extLst>
          </p:cNvPr>
          <p:cNvSpPr txBox="1">
            <a:spLocks/>
          </p:cNvSpPr>
          <p:nvPr/>
        </p:nvSpPr>
        <p:spPr>
          <a:xfrm>
            <a:off x="481264" y="1667844"/>
            <a:ext cx="4403565" cy="101566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6000" b="1" i="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Disclaim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A858F5-1B5C-FD7A-432D-19F62375A90D}"/>
              </a:ext>
            </a:extLst>
          </p:cNvPr>
          <p:cNvSpPr/>
          <p:nvPr/>
        </p:nvSpPr>
        <p:spPr>
          <a:xfrm>
            <a:off x="481264" y="4759456"/>
            <a:ext cx="4267462" cy="98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 defTabSz="914354">
              <a:spcAft>
                <a:spcPts val="600"/>
              </a:spcAft>
              <a:defRPr/>
            </a:pPr>
            <a:r>
              <a:rPr lang="en-US" sz="1200" b="1">
                <a:solidFill>
                  <a:schemeClr val="accent2"/>
                </a:solidFill>
                <a:latin typeface="Calibri"/>
              </a:rPr>
              <a:t>This presentation was downloaded from Presales Stories. </a:t>
            </a:r>
          </a:p>
          <a:p>
            <a:pPr algn="l" defTabSz="914354">
              <a:defRPr/>
            </a:pPr>
            <a:r>
              <a:rPr lang="en-US" sz="1200" b="1">
                <a:solidFill>
                  <a:schemeClr val="accent2"/>
                </a:solidFill>
                <a:latin typeface="Calibri"/>
              </a:rPr>
              <a:t>Discover more content about EPAM’s Capabilities at </a:t>
            </a:r>
            <a:br>
              <a:rPr lang="en-US" sz="1200" b="1">
                <a:solidFill>
                  <a:schemeClr val="accent2"/>
                </a:solidFill>
                <a:latin typeface="Calibri"/>
              </a:rPr>
            </a:br>
            <a:r>
              <a:rPr lang="en-US" sz="1200" b="1" u="sng">
                <a:solidFill>
                  <a:schemeClr val="accent2"/>
                </a:solidFill>
                <a:latin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200" b="1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5C60129C-ED73-46C0-0FB7-BB32CA2BD978}"/>
              </a:ext>
            </a:extLst>
          </p:cNvPr>
          <p:cNvSpPr txBox="1">
            <a:spLocks/>
          </p:cNvSpPr>
          <p:nvPr/>
        </p:nvSpPr>
        <p:spPr>
          <a:xfrm>
            <a:off x="481264" y="2919114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Convert to PDF before shar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464A0-B9BD-B9A5-38BA-45F5800B2DA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64" y="872962"/>
            <a:ext cx="668294" cy="622205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C9E71BD3-C16B-E833-87BA-15C30377643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42082F-236C-033C-4BB1-ED91055E10D6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DDC278-1F97-461F-020F-97C4F17BCD4E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117201"/>
      </p:ext>
    </p:extLst>
  </p:cSld>
  <p:clrMapOvr>
    <a:masterClrMapping/>
  </p:clrMapOvr>
  <p:hf hdr="0" dt="0"/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93E89BDD-DFE0-2F52-8234-B4BA719C24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29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AB1331E-AD8D-C6DD-2EB9-162F1E8744C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8E73F41-F196-FE58-99BD-8AFA2B909861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CA775BE-E377-94D3-AEB3-0F6AC5EABBE8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1296AC5-6772-5447-9F7F-930222E7DD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3" name="Title 8">
            <a:extLst>
              <a:ext uri="{FF2B5EF4-FFF2-40B4-BE49-F238E27FC236}">
                <a16:creationId xmlns:a16="http://schemas.microsoft.com/office/drawing/2014/main" id="{522FF93D-C8A6-33EF-5BC7-877E52BEE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A81627C-09AF-5EC8-CA35-DF312ECADD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8997785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Ligh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8E60C0F2-79B7-EE1B-6041-90317B3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199D6FE-5F94-4710-8291-B3438158799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3F08F0-0194-EA75-42BA-A0773D6D3D9A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BCD999-82B2-EE7A-6B7F-62E9DF0FC3BB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60BC1F9-F5BB-BACB-98D9-6B1EA76689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21A2213A-A5D0-F62A-BDB3-8BB538A65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00BD8D1-BEE3-CC7B-18BC-B2C6739412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232751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Ligh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7254E77-EA64-0D5B-1B56-09AF228EFA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41AD50E6-D58E-3D8C-41A0-48F21CC758C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EC493A-D2B3-E243-2D3B-B6C3183A3174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F48D13-7FE0-0CB2-89F9-E7AA85593DB9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D221B2F-F01A-3D8B-58F3-2E0CD57769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5E154CAE-C4D8-C2A0-6BE8-461C3B8FA5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2DE92A-A744-9D66-5950-661ECF019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84197926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Ligh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5381F3-7ADD-A798-2917-70C400E5FC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4668" y="2820541"/>
            <a:ext cx="4487332" cy="4037459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747460E-84D6-E4C7-66CE-0A88D0D3B7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4C926E2E-67D5-D03F-CAF1-D936DD3C0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0B9D3F-8FFD-EE49-3B30-05286E2EBB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4772199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Ligh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35273E55-8F47-AC18-08B7-C31C53E2A2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BBCDB36-A5F4-DF81-FE84-1CBB055082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36520FD8-AF16-A7D1-FBFD-C07B1B5276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EA145C4-F1AE-010B-FC94-C27466A66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5892760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1896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0854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41767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B4284D-C7B7-AF33-505C-3BCE70543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CBF3641-43B5-6FAC-E7AA-3C2E1B6868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7785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663" y="1035424"/>
            <a:ext cx="464820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7200" b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4663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663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663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663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4663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4663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474663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1214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5491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38394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Sub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A4049EA-1C80-CEF2-C39E-9249C1D29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31500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D2FFF58-70EB-C86F-9E59-1581F18B87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FF9120F-E29C-8B3A-D5EB-E673F7B24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8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A6D870D-A9F4-488C-8ECB-5016711134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98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8373890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-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7891C23-3EE8-0CED-28FE-170D18A2D615}"/>
              </a:ext>
            </a:extLst>
          </p:cNvPr>
          <p:cNvGrpSpPr/>
          <p:nvPr/>
        </p:nvGrpSpPr>
        <p:grpSpPr>
          <a:xfrm>
            <a:off x="3909694" y="-2"/>
            <a:ext cx="4653972" cy="6858002"/>
            <a:chOff x="3300840" y="-2"/>
            <a:chExt cx="4653972" cy="6858002"/>
          </a:xfrm>
          <a:solidFill>
            <a:schemeClr val="bg1">
              <a:lumMod val="95000"/>
            </a:schemeClr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4E5E53-9F1A-D61C-9EEB-E1510482E5BF}"/>
                </a:ext>
              </a:extLst>
            </p:cNvPr>
            <p:cNvSpPr/>
            <p:nvPr userDrawn="1"/>
          </p:nvSpPr>
          <p:spPr bwMode="auto">
            <a:xfrm>
              <a:off x="3300840" y="0"/>
              <a:ext cx="4110732" cy="68580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rtlCol="0" anchor="ctr"/>
            <a:lstStyle/>
            <a:p>
              <a:pPr algn="ctr"/>
              <a:endParaRPr lang="en-US" sz="2400" err="1">
                <a:solidFill>
                  <a:schemeClr val="bg1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endParaRPr>
            </a:p>
          </p:txBody>
        </p:sp>
        <p:sp>
          <p:nvSpPr>
            <p:cNvPr id="13" name="Isosceles Triangle 13">
              <a:extLst>
                <a:ext uri="{FF2B5EF4-FFF2-40B4-BE49-F238E27FC236}">
                  <a16:creationId xmlns:a16="http://schemas.microsoft.com/office/drawing/2014/main" id="{DF41968F-990C-67B1-0475-04E0249E281A}"/>
                </a:ext>
              </a:extLst>
            </p:cNvPr>
            <p:cNvSpPr/>
            <p:nvPr userDrawn="1"/>
          </p:nvSpPr>
          <p:spPr>
            <a:xfrm rot="5400000" flipH="1">
              <a:off x="4249415" y="3152602"/>
              <a:ext cx="6858002" cy="552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-1" y="0"/>
            <a:ext cx="407670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/>
        </p:nvSpPr>
        <p:spPr>
          <a:xfrm rot="5400000" flipH="1">
            <a:off x="936060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0E4AD9-5B60-F04F-FEE1-80647A0EA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189EAA6-8653-D9C5-4653-C4B7BB2BB3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01049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520683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6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0FD50C-06F7-21CC-1F6A-D75586A5063A}"/>
              </a:ext>
            </a:extLst>
          </p:cNvPr>
          <p:cNvSpPr/>
          <p:nvPr/>
        </p:nvSpPr>
        <p:spPr bwMode="auto">
          <a:xfrm>
            <a:off x="5166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6866651-9DE6-3C00-E38E-CCE80D6049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367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991B0C-C540-A449-1C7D-F3AE627558A1}"/>
              </a:ext>
            </a:extLst>
          </p:cNvPr>
          <p:cNvSpPr txBox="1"/>
          <p:nvPr/>
        </p:nvSpPr>
        <p:spPr>
          <a:xfrm>
            <a:off x="10054041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382AE5-9D01-6839-5979-7A3921E0574F}"/>
              </a:ext>
            </a:extLst>
          </p:cNvPr>
          <p:cNvSpPr txBox="1">
            <a:spLocks/>
          </p:cNvSpPr>
          <p:nvPr/>
        </p:nvSpPr>
        <p:spPr>
          <a:xfrm>
            <a:off x="11503260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22384607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895232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3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F441E88-7FE8-D22E-100F-B090659320A1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FA5AB7F-48A8-2636-3278-4702BB8C575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B4A2EA-2922-26E5-D797-A05E70DB9B02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C8D5290-AB1A-98C0-647E-05F429722DED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77223532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822141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078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6C5343-68AD-9879-2727-7ECBCB6A1B23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EF0FAA-381C-3A89-42AF-830EF59119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56236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24921F-F7DB-7A40-465F-85F610FC20C6}"/>
              </a:ext>
            </a:extLst>
          </p:cNvPr>
          <p:cNvSpPr txBox="1"/>
          <p:nvPr/>
        </p:nvSpPr>
        <p:spPr>
          <a:xfrm>
            <a:off x="10048875" y="6423925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F018D9-6B5F-8BCB-BD75-7816BF58C56F}"/>
              </a:ext>
            </a:extLst>
          </p:cNvPr>
          <p:cNvSpPr txBox="1">
            <a:spLocks/>
          </p:cNvSpPr>
          <p:nvPr/>
        </p:nvSpPr>
        <p:spPr>
          <a:xfrm>
            <a:off x="11498094" y="6423926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/>
            </a:lvl2pPr>
            <a:lvl3pPr>
              <a:defRPr lang="en-US" sz="1350"/>
            </a:lvl3pPr>
            <a:lvl4pPr>
              <a:defRPr lang="en-US" sz="135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81739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0C5E2-D359-5FED-B284-19CF47A41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A60CDFE-3A94-5F3A-0523-ABA5607800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7052EF-2C83-09DE-9638-F3492217FF7E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7612B5-8615-3AC0-8239-012312B6FD99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606918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2960BA-AA0C-9715-43A2-22B9050A4780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1783F67-AD13-06FC-C79E-DE6FBF4D057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F414E4-F961-7DD4-8CFB-7B93DD10B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2BE525B-A1C0-1DD5-E075-79F96E71ED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7A229-8E7F-A1E8-7492-218AEFB06B0E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1751A4-BF09-09F2-77C6-42F2F2AEB24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4174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4023026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463925-928E-4FE1-B9E5-B83141A2C221}"/>
              </a:ext>
            </a:extLst>
          </p:cNvPr>
          <p:cNvSpPr/>
          <p:nvPr/>
        </p:nvSpPr>
        <p:spPr bwMode="auto">
          <a:xfrm>
            <a:off x="-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69AD5E-5F94-E6C0-0DB3-77E8A5A0D3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3DBF0C-CA25-003D-B5D8-6EE24C1F808C}"/>
              </a:ext>
            </a:extLst>
          </p:cNvPr>
          <p:cNvSpPr txBox="1"/>
          <p:nvPr/>
        </p:nvSpPr>
        <p:spPr>
          <a:xfrm>
            <a:off x="10048874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97B36E0-E687-34C7-ACB3-F681FF77C582}"/>
              </a:ext>
            </a:extLst>
          </p:cNvPr>
          <p:cNvSpPr txBox="1">
            <a:spLocks/>
          </p:cNvSpPr>
          <p:nvPr/>
        </p:nvSpPr>
        <p:spPr>
          <a:xfrm>
            <a:off x="11498093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33315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9103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Up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D6310AE-15DA-337B-9B5E-33A904BF3549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F314DE-C7E3-7237-4318-0407E44F572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5B1A98-E850-C3DE-38BF-EFAE0A2DC98C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E6FC5F8-7CE5-D29D-2CCA-C5715CDD43BD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40918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796107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 Up Left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69C4A8F-5B1E-7B0E-CAF7-B9F33D92C844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D6F42AB-F517-759C-A3C4-63443ED771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4E9D77-5CF8-5131-6018-48DF58117ECE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34280A7-4796-759A-6B00-0444E865A6A0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0238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077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right light in the dark&#10;&#10;Description automatically generated with medium confidence">
            <a:extLst>
              <a:ext uri="{FF2B5EF4-FFF2-40B4-BE49-F238E27FC236}">
                <a16:creationId xmlns:a16="http://schemas.microsoft.com/office/drawing/2014/main" id="{292D94B7-0233-C940-0B7E-BB187340B7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45" b="739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48AADE-3723-5675-1E93-91E2083DA9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2020841-C9E1-4289-E94E-04CC0C8D6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E233166-418F-6386-079E-CEDA3BF98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C7376-20F0-E0B1-E7D5-414FC5DC35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9549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54523F-EFD3-EDB0-4AF0-FB2421CCF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DB8D92B-BDD7-86B1-A31A-C3740736BA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75074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0096CA2-6B8E-1E0B-7446-BC5F37E73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0402405-4264-41C3-7E10-6A2AF1A461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13281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700771F-7FE8-2510-0C0E-734572A38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1513A24-C9FD-06A1-1015-D9656D68B8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377418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1C45522-9A1C-E9EB-4D96-B0CFFD2F7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250256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E6E8F6-4D6C-2884-0A7D-72BB39B21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2502567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07FC1-18DF-2355-0123-10BF2390C02D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B024407-B901-7B1F-04F9-932983C670E0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312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B7486B-35A7-A3FF-6F44-2159B1E9FAD3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82A7F25-3763-4002-A844-19432F96312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BC1AB0-2CF4-70A1-0BD7-A9A57D9F9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342021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B299D4E-38EF-AC64-7836-1AD1E87996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342021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897697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9FDF51-3B9F-C5D8-7A84-09B7B6CB9E8B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D3A15A-582D-3DDB-CC40-43726E84CA43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D8F2DF5-DE6F-E2FC-0057-63CC04174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4897430-924B-CB14-9A94-8DB20A76C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2043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9820275" y="0"/>
            <a:ext cx="2371722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E6AE37-FC1E-5269-1E83-C3E9928ED250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7A8488-5F43-686E-E10B-16D16E352EED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7DE099-ACDF-D41B-FBC3-5EE9A76F4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7450138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F7055BE-CD0F-6E9E-5992-4C7B9EF5FA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3600000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58664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C6BA4E-CBCB-554D-CA98-146A521CFDF4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B62B8-4926-8E23-51B4-D8AC31708BB8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A808058-9E6F-F0D8-A385-7B4C54766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00513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3D95AB9-CE03-7AFD-DBBE-C67756B35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005137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7487523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2F6686-8C0A-120D-0C06-1F8DA97E3C4D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65D26-CB94-F414-6836-638151C91C4F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263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02B5D-C175-DE3C-BEC7-EB4A41870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106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93C67F9-F2A6-3918-0A8D-555112C9F4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382446"/>
            <a:ext cx="2695074" cy="207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81295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BD2E969-F100-6B32-8DFD-11A45E5E4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67B491-F517-CB8D-96B1-B02A50D723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30FF820-B532-1296-E817-DF961B67D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54D4BD-6E7A-841D-F70C-31FAEF56CD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787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0084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F219C23-5248-6A23-1656-7F24D37DB20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D0F7879-EF16-5C25-BC5F-DF85AD10BA3F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7931746-EE72-E501-E583-1218E82991FF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201133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49707145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390954"/>
      </p:ext>
    </p:extLst>
  </p:cSld>
  <p:clrMapOvr>
    <a:masterClrMapping/>
  </p:clrMapOvr>
  <p:hf hdr="0" dt="0"/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_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663" y="1035424"/>
            <a:ext cx="464820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7200" b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4663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663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663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663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4663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4663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/>
        </p:nvCxnSpPr>
        <p:spPr>
          <a:xfrm>
            <a:off x="474663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23308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_Photo_+_Caption_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637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JANUARY 2022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21FFBE-FD73-4914-B88C-A205297E29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FA7817-3B6C-3F4A-B7B9-1C24248B0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1761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5192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3566160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400" spc="300" dirty="0">
                <a:solidFill>
                  <a:schemeClr val="bg2"/>
                </a:solidFill>
                <a:effectLst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JANUARY 2022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1AA8C38-4FF3-4F33-8B0F-196D0BC79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B842CEE-8A53-0D42-A72B-7D63B1ED3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486400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3958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1">
                    <a:lumMod val="95000"/>
                  </a:schemeClr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JANUARY 2022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8C851A-E2E7-4523-9F42-0BB009E56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6769452-030B-5548-B575-999D639F6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55248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4212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C8558E-5624-D848-B1A3-4B79F93D0AC1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6123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0094E5E-6EFF-CE7E-D775-2FA95EEE2F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309027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E632B84-D810-D682-26F1-538579099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30902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6BD730-15BB-8DAE-B807-85A733E0F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531163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229A6F-36FA-05D5-E223-1581D31CE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85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40CC96-6026-B04A-A42D-A7A8F52BBA69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709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41629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DBA6632F-E3DA-3334-D934-35FB7CE1353E}"/>
              </a:ext>
            </a:extLst>
          </p:cNvPr>
          <p:cNvSpPr/>
          <p:nvPr/>
        </p:nvSpPr>
        <p:spPr>
          <a:xfrm>
            <a:off x="538139" y="6438901"/>
            <a:ext cx="71889" cy="152637"/>
          </a:xfrm>
          <a:custGeom>
            <a:avLst/>
            <a:gdLst>
              <a:gd name="connsiteX0" fmla="*/ 21002 w 71889"/>
              <a:gd name="connsiteY0" fmla="*/ 64625 h 152637"/>
              <a:gd name="connsiteX1" fmla="*/ 50863 w 71889"/>
              <a:gd name="connsiteY1" fmla="*/ 64625 h 152637"/>
              <a:gd name="connsiteX2" fmla="*/ 50863 w 71889"/>
              <a:gd name="connsiteY2" fmla="*/ 32907 h 152637"/>
              <a:gd name="connsiteX3" fmla="*/ 37600 w 71889"/>
              <a:gd name="connsiteY3" fmla="*/ 19644 h 152637"/>
              <a:gd name="connsiteX4" fmla="*/ 34290 w 71889"/>
              <a:gd name="connsiteY4" fmla="*/ 19644 h 152637"/>
              <a:gd name="connsiteX5" fmla="*/ 21002 w 71889"/>
              <a:gd name="connsiteY5" fmla="*/ 32907 h 152637"/>
              <a:gd name="connsiteX6" fmla="*/ 21002 w 71889"/>
              <a:gd name="connsiteY6" fmla="*/ 84842 h 152637"/>
              <a:gd name="connsiteX7" fmla="*/ 21002 w 71889"/>
              <a:gd name="connsiteY7" fmla="*/ 119727 h 152637"/>
              <a:gd name="connsiteX8" fmla="*/ 34290 w 71889"/>
              <a:gd name="connsiteY8" fmla="*/ 132991 h 152637"/>
              <a:gd name="connsiteX9" fmla="*/ 38147 w 71889"/>
              <a:gd name="connsiteY9" fmla="*/ 132991 h 152637"/>
              <a:gd name="connsiteX10" fmla="*/ 51435 w 71889"/>
              <a:gd name="connsiteY10" fmla="*/ 119727 h 152637"/>
              <a:gd name="connsiteX11" fmla="*/ 51435 w 71889"/>
              <a:gd name="connsiteY11" fmla="*/ 102582 h 152637"/>
              <a:gd name="connsiteX12" fmla="*/ 71889 w 71889"/>
              <a:gd name="connsiteY12" fmla="*/ 102582 h 152637"/>
              <a:gd name="connsiteX13" fmla="*/ 71889 w 71889"/>
              <a:gd name="connsiteY13" fmla="*/ 118894 h 152637"/>
              <a:gd name="connsiteX14" fmla="*/ 38147 w 71889"/>
              <a:gd name="connsiteY14" fmla="*/ 152636 h 152637"/>
              <a:gd name="connsiteX15" fmla="*/ 33718 w 71889"/>
              <a:gd name="connsiteY15" fmla="*/ 152636 h 152637"/>
              <a:gd name="connsiteX16" fmla="*/ 0 w 71889"/>
              <a:gd name="connsiteY16" fmla="*/ 121513 h 152637"/>
              <a:gd name="connsiteX17" fmla="*/ 0 w 71889"/>
              <a:gd name="connsiteY17" fmla="*/ 36360 h 152637"/>
              <a:gd name="connsiteX18" fmla="*/ 33718 w 71889"/>
              <a:gd name="connsiteY18" fmla="*/ -2 h 152637"/>
              <a:gd name="connsiteX19" fmla="*/ 38147 w 71889"/>
              <a:gd name="connsiteY19" fmla="*/ -2 h 152637"/>
              <a:gd name="connsiteX20" fmla="*/ 71889 w 71889"/>
              <a:gd name="connsiteY20" fmla="*/ 33741 h 152637"/>
              <a:gd name="connsiteX21" fmla="*/ 71889 w 71889"/>
              <a:gd name="connsiteY21" fmla="*/ 84842 h 152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1889" h="152637">
                <a:moveTo>
                  <a:pt x="21002" y="64625"/>
                </a:moveTo>
                <a:lnTo>
                  <a:pt x="50863" y="64625"/>
                </a:lnTo>
                <a:lnTo>
                  <a:pt x="50863" y="32907"/>
                </a:lnTo>
                <a:cubicBezTo>
                  <a:pt x="50863" y="24049"/>
                  <a:pt x="46458" y="19644"/>
                  <a:pt x="37600" y="19644"/>
                </a:cubicBezTo>
                <a:lnTo>
                  <a:pt x="34290" y="19644"/>
                </a:lnTo>
                <a:cubicBezTo>
                  <a:pt x="25431" y="19644"/>
                  <a:pt x="21002" y="24049"/>
                  <a:pt x="21002" y="32907"/>
                </a:cubicBezTo>
                <a:close/>
                <a:moveTo>
                  <a:pt x="21002" y="84842"/>
                </a:moveTo>
                <a:lnTo>
                  <a:pt x="21002" y="119727"/>
                </a:lnTo>
                <a:cubicBezTo>
                  <a:pt x="21002" y="128585"/>
                  <a:pt x="25431" y="132991"/>
                  <a:pt x="34290" y="132991"/>
                </a:cubicBezTo>
                <a:lnTo>
                  <a:pt x="38147" y="132991"/>
                </a:lnTo>
                <a:cubicBezTo>
                  <a:pt x="47005" y="132991"/>
                  <a:pt x="51435" y="128585"/>
                  <a:pt x="51435" y="119727"/>
                </a:cubicBezTo>
                <a:lnTo>
                  <a:pt x="51435" y="102582"/>
                </a:lnTo>
                <a:lnTo>
                  <a:pt x="71889" y="102582"/>
                </a:lnTo>
                <a:lnTo>
                  <a:pt x="71889" y="118894"/>
                </a:lnTo>
                <a:cubicBezTo>
                  <a:pt x="71889" y="141301"/>
                  <a:pt x="60555" y="152636"/>
                  <a:pt x="38147" y="152636"/>
                </a:cubicBezTo>
                <a:lnTo>
                  <a:pt x="33718" y="152636"/>
                </a:lnTo>
                <a:cubicBezTo>
                  <a:pt x="11335" y="152636"/>
                  <a:pt x="0" y="141301"/>
                  <a:pt x="0" y="121513"/>
                </a:cubicBezTo>
                <a:lnTo>
                  <a:pt x="0" y="36360"/>
                </a:lnTo>
                <a:cubicBezTo>
                  <a:pt x="0" y="11333"/>
                  <a:pt x="11335" y="-2"/>
                  <a:pt x="33718" y="-2"/>
                </a:cubicBezTo>
                <a:lnTo>
                  <a:pt x="38147" y="-2"/>
                </a:lnTo>
                <a:cubicBezTo>
                  <a:pt x="60555" y="-2"/>
                  <a:pt x="71889" y="11333"/>
                  <a:pt x="71889" y="33741"/>
                </a:cubicBezTo>
                <a:lnTo>
                  <a:pt x="71889" y="84842"/>
                </a:ln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1439E55E-D301-28F2-87E1-6B187295C06A}"/>
              </a:ext>
            </a:extLst>
          </p:cNvPr>
          <p:cNvSpPr/>
          <p:nvPr/>
        </p:nvSpPr>
        <p:spPr>
          <a:xfrm>
            <a:off x="623625" y="6438901"/>
            <a:ext cx="73603" cy="190022"/>
          </a:xfrm>
          <a:custGeom>
            <a:avLst/>
            <a:gdLst>
              <a:gd name="connsiteX0" fmla="*/ 21074 w 73603"/>
              <a:gd name="connsiteY0" fmla="*/ 124990 h 190022"/>
              <a:gd name="connsiteX1" fmla="*/ 40481 w 73603"/>
              <a:gd name="connsiteY1" fmla="*/ 132729 h 190022"/>
              <a:gd name="connsiteX2" fmla="*/ 52649 w 73603"/>
              <a:gd name="connsiteY2" fmla="*/ 120560 h 190022"/>
              <a:gd name="connsiteX3" fmla="*/ 52649 w 73603"/>
              <a:gd name="connsiteY3" fmla="*/ 32074 h 190022"/>
              <a:gd name="connsiteX4" fmla="*/ 40481 w 73603"/>
              <a:gd name="connsiteY4" fmla="*/ 19906 h 190022"/>
              <a:gd name="connsiteX5" fmla="*/ 21145 w 73603"/>
              <a:gd name="connsiteY5" fmla="*/ 27645 h 190022"/>
              <a:gd name="connsiteX6" fmla="*/ 0 w 73603"/>
              <a:gd name="connsiteY6" fmla="*/ 1665 h 190022"/>
              <a:gd name="connsiteX7" fmla="*/ 21026 w 73603"/>
              <a:gd name="connsiteY7" fmla="*/ 1665 h 190022"/>
              <a:gd name="connsiteX8" fmla="*/ 21026 w 73603"/>
              <a:gd name="connsiteY8" fmla="*/ 11333 h 190022"/>
              <a:gd name="connsiteX9" fmla="*/ 46791 w 73603"/>
              <a:gd name="connsiteY9" fmla="*/ -2 h 190022"/>
              <a:gd name="connsiteX10" fmla="*/ 73604 w 73603"/>
              <a:gd name="connsiteY10" fmla="*/ 29597 h 190022"/>
              <a:gd name="connsiteX11" fmla="*/ 73604 w 73603"/>
              <a:gd name="connsiteY11" fmla="*/ 123037 h 190022"/>
              <a:gd name="connsiteX12" fmla="*/ 46791 w 73603"/>
              <a:gd name="connsiteY12" fmla="*/ 152636 h 190022"/>
              <a:gd name="connsiteX13" fmla="*/ 21074 w 73603"/>
              <a:gd name="connsiteY13" fmla="*/ 141849 h 190022"/>
              <a:gd name="connsiteX14" fmla="*/ 21074 w 73603"/>
              <a:gd name="connsiteY14" fmla="*/ 190021 h 190022"/>
              <a:gd name="connsiteX15" fmla="*/ 0 w 73603"/>
              <a:gd name="connsiteY15" fmla="*/ 190021 h 190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3603" h="190022">
                <a:moveTo>
                  <a:pt x="21074" y="124990"/>
                </a:moveTo>
                <a:cubicBezTo>
                  <a:pt x="26388" y="129841"/>
                  <a:pt x="33287" y="132592"/>
                  <a:pt x="40481" y="132729"/>
                </a:cubicBezTo>
                <a:cubicBezTo>
                  <a:pt x="48220" y="132729"/>
                  <a:pt x="52649" y="129133"/>
                  <a:pt x="52649" y="120560"/>
                </a:cubicBezTo>
                <a:lnTo>
                  <a:pt x="52649" y="32074"/>
                </a:lnTo>
                <a:cubicBezTo>
                  <a:pt x="52649" y="23501"/>
                  <a:pt x="48220" y="19906"/>
                  <a:pt x="40481" y="19906"/>
                </a:cubicBezTo>
                <a:cubicBezTo>
                  <a:pt x="33311" y="20060"/>
                  <a:pt x="26441" y="22809"/>
                  <a:pt x="21145" y="27645"/>
                </a:cubicBezTo>
                <a:close/>
                <a:moveTo>
                  <a:pt x="0" y="1665"/>
                </a:moveTo>
                <a:lnTo>
                  <a:pt x="21026" y="1665"/>
                </a:lnTo>
                <a:lnTo>
                  <a:pt x="21026" y="11333"/>
                </a:lnTo>
                <a:cubicBezTo>
                  <a:pt x="27666" y="4138"/>
                  <a:pt x="37001" y="31"/>
                  <a:pt x="46791" y="-2"/>
                </a:cubicBezTo>
                <a:cubicBezTo>
                  <a:pt x="64746" y="-2"/>
                  <a:pt x="73604" y="11905"/>
                  <a:pt x="73604" y="29597"/>
                </a:cubicBezTo>
                <a:lnTo>
                  <a:pt x="73604" y="123037"/>
                </a:lnTo>
                <a:cubicBezTo>
                  <a:pt x="73604" y="140730"/>
                  <a:pt x="64746" y="152636"/>
                  <a:pt x="46791" y="152636"/>
                </a:cubicBezTo>
                <a:cubicBezTo>
                  <a:pt x="37118" y="152638"/>
                  <a:pt x="27851" y="148751"/>
                  <a:pt x="21074" y="141849"/>
                </a:cubicBezTo>
                <a:lnTo>
                  <a:pt x="21074" y="190021"/>
                </a:lnTo>
                <a:lnTo>
                  <a:pt x="0" y="190021"/>
                </a:ln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E725D392-9F0C-C7D0-BF7D-09A0DE35E744}"/>
              </a:ext>
            </a:extLst>
          </p:cNvPr>
          <p:cNvSpPr/>
          <p:nvPr/>
        </p:nvSpPr>
        <p:spPr>
          <a:xfrm>
            <a:off x="709802" y="6438901"/>
            <a:ext cx="71365" cy="152518"/>
          </a:xfrm>
          <a:custGeom>
            <a:avLst/>
            <a:gdLst>
              <a:gd name="connsiteX0" fmla="*/ 50434 w 71365"/>
              <a:gd name="connsiteY0" fmla="*/ 125799 h 152518"/>
              <a:gd name="connsiteX1" fmla="*/ 50434 w 71365"/>
              <a:gd name="connsiteY1" fmla="*/ 76555 h 152518"/>
              <a:gd name="connsiteX2" fmla="*/ 31385 w 71365"/>
              <a:gd name="connsiteY2" fmla="*/ 83699 h 152518"/>
              <a:gd name="connsiteX3" fmla="*/ 21145 w 71365"/>
              <a:gd name="connsiteY3" fmla="*/ 99177 h 152518"/>
              <a:gd name="connsiteX4" fmla="*/ 21145 w 71365"/>
              <a:gd name="connsiteY4" fmla="*/ 121846 h 152518"/>
              <a:gd name="connsiteX5" fmla="*/ 31385 w 71365"/>
              <a:gd name="connsiteY5" fmla="*/ 132633 h 152518"/>
              <a:gd name="connsiteX6" fmla="*/ 50434 w 71365"/>
              <a:gd name="connsiteY6" fmla="*/ 125704 h 152518"/>
              <a:gd name="connsiteX7" fmla="*/ 95 w 71365"/>
              <a:gd name="connsiteY7" fmla="*/ 98986 h 152518"/>
              <a:gd name="connsiteX8" fmla="*/ 22217 w 71365"/>
              <a:gd name="connsiteY8" fmla="*/ 67483 h 152518"/>
              <a:gd name="connsiteX9" fmla="*/ 50434 w 71365"/>
              <a:gd name="connsiteY9" fmla="*/ 57791 h 152518"/>
              <a:gd name="connsiteX10" fmla="*/ 50434 w 71365"/>
              <a:gd name="connsiteY10" fmla="*/ 32907 h 152518"/>
              <a:gd name="connsiteX11" fmla="*/ 37147 w 71365"/>
              <a:gd name="connsiteY11" fmla="*/ 19358 h 152518"/>
              <a:gd name="connsiteX12" fmla="*/ 33742 w 71365"/>
              <a:gd name="connsiteY12" fmla="*/ 19358 h 152518"/>
              <a:gd name="connsiteX13" fmla="*/ 20455 w 71365"/>
              <a:gd name="connsiteY13" fmla="*/ 32907 h 152518"/>
              <a:gd name="connsiteX14" fmla="*/ 20455 w 71365"/>
              <a:gd name="connsiteY14" fmla="*/ 54052 h 152518"/>
              <a:gd name="connsiteX15" fmla="*/ 0 w 71365"/>
              <a:gd name="connsiteY15" fmla="*/ 54052 h 152518"/>
              <a:gd name="connsiteX16" fmla="*/ 0 w 71365"/>
              <a:gd name="connsiteY16" fmla="*/ 33741 h 152518"/>
              <a:gd name="connsiteX17" fmla="*/ 33742 w 71365"/>
              <a:gd name="connsiteY17" fmla="*/ -2 h 152518"/>
              <a:gd name="connsiteX18" fmla="*/ 37647 w 71365"/>
              <a:gd name="connsiteY18" fmla="*/ -2 h 152518"/>
              <a:gd name="connsiteX19" fmla="*/ 71365 w 71365"/>
              <a:gd name="connsiteY19" fmla="*/ 33741 h 152518"/>
              <a:gd name="connsiteX20" fmla="*/ 71365 w 71365"/>
              <a:gd name="connsiteY20" fmla="*/ 150969 h 152518"/>
              <a:gd name="connsiteX21" fmla="*/ 50363 w 71365"/>
              <a:gd name="connsiteY21" fmla="*/ 150969 h 152518"/>
              <a:gd name="connsiteX22" fmla="*/ 50363 w 71365"/>
              <a:gd name="connsiteY22" fmla="*/ 141444 h 152518"/>
              <a:gd name="connsiteX23" fmla="*/ 24646 w 71365"/>
              <a:gd name="connsiteY23" fmla="*/ 152517 h 152518"/>
              <a:gd name="connsiteX24" fmla="*/ 24 w 71365"/>
              <a:gd name="connsiteY24" fmla="*/ 126323 h 152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1365" h="152518">
                <a:moveTo>
                  <a:pt x="50434" y="125799"/>
                </a:moveTo>
                <a:lnTo>
                  <a:pt x="50434" y="76555"/>
                </a:lnTo>
                <a:lnTo>
                  <a:pt x="31385" y="83699"/>
                </a:lnTo>
                <a:cubicBezTo>
                  <a:pt x="23622" y="86723"/>
                  <a:pt x="21145" y="90604"/>
                  <a:pt x="21145" y="99177"/>
                </a:cubicBezTo>
                <a:lnTo>
                  <a:pt x="21145" y="121846"/>
                </a:lnTo>
                <a:cubicBezTo>
                  <a:pt x="21145" y="128990"/>
                  <a:pt x="24741" y="132633"/>
                  <a:pt x="31385" y="132633"/>
                </a:cubicBezTo>
                <a:cubicBezTo>
                  <a:pt x="38028" y="132633"/>
                  <a:pt x="43529" y="130419"/>
                  <a:pt x="50434" y="125704"/>
                </a:cubicBezTo>
                <a:moveTo>
                  <a:pt x="95" y="98986"/>
                </a:moveTo>
                <a:cubicBezTo>
                  <a:pt x="95" y="80460"/>
                  <a:pt x="6191" y="73007"/>
                  <a:pt x="22217" y="67483"/>
                </a:cubicBezTo>
                <a:lnTo>
                  <a:pt x="50434" y="57791"/>
                </a:lnTo>
                <a:lnTo>
                  <a:pt x="50434" y="32907"/>
                </a:lnTo>
                <a:cubicBezTo>
                  <a:pt x="50434" y="24073"/>
                  <a:pt x="46005" y="19358"/>
                  <a:pt x="37147" y="19358"/>
                </a:cubicBezTo>
                <a:lnTo>
                  <a:pt x="33742" y="19358"/>
                </a:lnTo>
                <a:cubicBezTo>
                  <a:pt x="24884" y="19358"/>
                  <a:pt x="20455" y="24120"/>
                  <a:pt x="20455" y="32907"/>
                </a:cubicBezTo>
                <a:lnTo>
                  <a:pt x="20455" y="54052"/>
                </a:lnTo>
                <a:lnTo>
                  <a:pt x="0" y="54052"/>
                </a:lnTo>
                <a:lnTo>
                  <a:pt x="0" y="33741"/>
                </a:lnTo>
                <a:cubicBezTo>
                  <a:pt x="0" y="11333"/>
                  <a:pt x="11335" y="-2"/>
                  <a:pt x="33742" y="-2"/>
                </a:cubicBezTo>
                <a:lnTo>
                  <a:pt x="37647" y="-2"/>
                </a:lnTo>
                <a:cubicBezTo>
                  <a:pt x="60031" y="-2"/>
                  <a:pt x="71365" y="11333"/>
                  <a:pt x="71365" y="33741"/>
                </a:cubicBezTo>
                <a:lnTo>
                  <a:pt x="71365" y="150969"/>
                </a:lnTo>
                <a:lnTo>
                  <a:pt x="50363" y="150969"/>
                </a:lnTo>
                <a:lnTo>
                  <a:pt x="50363" y="141444"/>
                </a:lnTo>
                <a:cubicBezTo>
                  <a:pt x="43672" y="148507"/>
                  <a:pt x="34373" y="152510"/>
                  <a:pt x="24646" y="152517"/>
                </a:cubicBezTo>
                <a:cubicBezTo>
                  <a:pt x="7787" y="152517"/>
                  <a:pt x="24" y="142825"/>
                  <a:pt x="24" y="126323"/>
                </a:cubicBez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1599071D-6483-8041-E835-6F45A9DADA8C}"/>
              </a:ext>
            </a:extLst>
          </p:cNvPr>
          <p:cNvSpPr/>
          <p:nvPr/>
        </p:nvSpPr>
        <p:spPr>
          <a:xfrm>
            <a:off x="794907" y="6438901"/>
            <a:ext cx="121752" cy="150970"/>
          </a:xfrm>
          <a:custGeom>
            <a:avLst/>
            <a:gdLst>
              <a:gd name="connsiteX0" fmla="*/ 71318 w 121752"/>
              <a:gd name="connsiteY0" fmla="*/ 150969 h 150970"/>
              <a:gd name="connsiteX1" fmla="*/ 50315 w 121752"/>
              <a:gd name="connsiteY1" fmla="*/ 150969 h 150970"/>
              <a:gd name="connsiteX2" fmla="*/ 50315 w 121752"/>
              <a:gd name="connsiteY2" fmla="*/ 30693 h 150970"/>
              <a:gd name="connsiteX3" fmla="*/ 40362 w 121752"/>
              <a:gd name="connsiteY3" fmla="*/ 19906 h 150970"/>
              <a:gd name="connsiteX4" fmla="*/ 21002 w 121752"/>
              <a:gd name="connsiteY4" fmla="*/ 27383 h 150970"/>
              <a:gd name="connsiteX5" fmla="*/ 21002 w 121752"/>
              <a:gd name="connsiteY5" fmla="*/ 150969 h 150970"/>
              <a:gd name="connsiteX6" fmla="*/ 0 w 121752"/>
              <a:gd name="connsiteY6" fmla="*/ 150969 h 150970"/>
              <a:gd name="connsiteX7" fmla="*/ 0 w 121752"/>
              <a:gd name="connsiteY7" fmla="*/ 1665 h 150970"/>
              <a:gd name="connsiteX8" fmla="*/ 21002 w 121752"/>
              <a:gd name="connsiteY8" fmla="*/ 1665 h 150970"/>
              <a:gd name="connsiteX9" fmla="*/ 21002 w 121752"/>
              <a:gd name="connsiteY9" fmla="*/ 11333 h 150970"/>
              <a:gd name="connsiteX10" fmla="*/ 46720 w 121752"/>
              <a:gd name="connsiteY10" fmla="*/ -2 h 150970"/>
              <a:gd name="connsiteX11" fmla="*/ 68556 w 121752"/>
              <a:gd name="connsiteY11" fmla="*/ 12167 h 150970"/>
              <a:gd name="connsiteX12" fmla="*/ 97130 w 121752"/>
              <a:gd name="connsiteY12" fmla="*/ -2 h 150970"/>
              <a:gd name="connsiteX13" fmla="*/ 121752 w 121752"/>
              <a:gd name="connsiteY13" fmla="*/ 26192 h 150970"/>
              <a:gd name="connsiteX14" fmla="*/ 121752 w 121752"/>
              <a:gd name="connsiteY14" fmla="*/ 150969 h 150970"/>
              <a:gd name="connsiteX15" fmla="*/ 100726 w 121752"/>
              <a:gd name="connsiteY15" fmla="*/ 150969 h 150970"/>
              <a:gd name="connsiteX16" fmla="*/ 100726 w 121752"/>
              <a:gd name="connsiteY16" fmla="*/ 30693 h 150970"/>
              <a:gd name="connsiteX17" fmla="*/ 90773 w 121752"/>
              <a:gd name="connsiteY17" fmla="*/ 19906 h 150970"/>
              <a:gd name="connsiteX18" fmla="*/ 71413 w 121752"/>
              <a:gd name="connsiteY18" fmla="*/ 27383 h 15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752" h="150970">
                <a:moveTo>
                  <a:pt x="71318" y="150969"/>
                </a:moveTo>
                <a:lnTo>
                  <a:pt x="50315" y="150969"/>
                </a:lnTo>
                <a:lnTo>
                  <a:pt x="50315" y="30693"/>
                </a:lnTo>
                <a:cubicBezTo>
                  <a:pt x="50315" y="23239"/>
                  <a:pt x="46720" y="19906"/>
                  <a:pt x="40362" y="19906"/>
                </a:cubicBezTo>
                <a:cubicBezTo>
                  <a:pt x="34552" y="19906"/>
                  <a:pt x="28456" y="22120"/>
                  <a:pt x="21002" y="27383"/>
                </a:cubicBezTo>
                <a:lnTo>
                  <a:pt x="21002" y="150969"/>
                </a:lnTo>
                <a:lnTo>
                  <a:pt x="0" y="150969"/>
                </a:lnTo>
                <a:lnTo>
                  <a:pt x="0" y="1665"/>
                </a:lnTo>
                <a:lnTo>
                  <a:pt x="21002" y="1665"/>
                </a:lnTo>
                <a:lnTo>
                  <a:pt x="21002" y="11333"/>
                </a:lnTo>
                <a:cubicBezTo>
                  <a:pt x="27098" y="5523"/>
                  <a:pt x="35099" y="-2"/>
                  <a:pt x="46720" y="-2"/>
                </a:cubicBezTo>
                <a:cubicBezTo>
                  <a:pt x="57507" y="-2"/>
                  <a:pt x="64698" y="4428"/>
                  <a:pt x="68556" y="12167"/>
                </a:cubicBezTo>
                <a:cubicBezTo>
                  <a:pt x="76033" y="5809"/>
                  <a:pt x="84867" y="-2"/>
                  <a:pt x="97130" y="-2"/>
                </a:cubicBezTo>
                <a:cubicBezTo>
                  <a:pt x="113442" y="-2"/>
                  <a:pt x="121752" y="9952"/>
                  <a:pt x="121752" y="26192"/>
                </a:cubicBezTo>
                <a:lnTo>
                  <a:pt x="121752" y="150969"/>
                </a:lnTo>
                <a:lnTo>
                  <a:pt x="100726" y="150969"/>
                </a:lnTo>
                <a:lnTo>
                  <a:pt x="100726" y="30693"/>
                </a:lnTo>
                <a:cubicBezTo>
                  <a:pt x="100726" y="23239"/>
                  <a:pt x="97130" y="19906"/>
                  <a:pt x="90773" y="19906"/>
                </a:cubicBezTo>
                <a:cubicBezTo>
                  <a:pt x="84962" y="19906"/>
                  <a:pt x="78866" y="22120"/>
                  <a:pt x="71413" y="27383"/>
                </a:cubicBez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D2450BBD-5505-7CBD-E6E1-B5740F7AC519}"/>
              </a:ext>
            </a:extLst>
          </p:cNvPr>
          <p:cNvSpPr/>
          <p:nvPr/>
        </p:nvSpPr>
        <p:spPr>
          <a:xfrm>
            <a:off x="457201" y="6454379"/>
            <a:ext cx="53982" cy="122300"/>
          </a:xfrm>
          <a:custGeom>
            <a:avLst/>
            <a:gdLst>
              <a:gd name="connsiteX0" fmla="*/ 53983 w 53982"/>
              <a:gd name="connsiteY0" fmla="*/ 0 h 122300"/>
              <a:gd name="connsiteX1" fmla="*/ 53983 w 53982"/>
              <a:gd name="connsiteY1" fmla="*/ 27456 h 122300"/>
              <a:gd name="connsiteX2" fmla="*/ 18621 w 53982"/>
              <a:gd name="connsiteY2" fmla="*/ 61150 h 122300"/>
              <a:gd name="connsiteX3" fmla="*/ 53983 w 53982"/>
              <a:gd name="connsiteY3" fmla="*/ 94249 h 122300"/>
              <a:gd name="connsiteX4" fmla="*/ 53983 w 53982"/>
              <a:gd name="connsiteY4" fmla="*/ 122300 h 122300"/>
              <a:gd name="connsiteX5" fmla="*/ 0 w 53982"/>
              <a:gd name="connsiteY5" fmla="*/ 71556 h 122300"/>
              <a:gd name="connsiteX6" fmla="*/ 0 w 53982"/>
              <a:gd name="connsiteY6" fmla="*/ 51339 h 122300"/>
              <a:gd name="connsiteX7" fmla="*/ 53983 w 53982"/>
              <a:gd name="connsiteY7" fmla="*/ 0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0"/>
                </a:moveTo>
                <a:lnTo>
                  <a:pt x="53983" y="27456"/>
                </a:lnTo>
                <a:lnTo>
                  <a:pt x="18621" y="61150"/>
                </a:lnTo>
                <a:lnTo>
                  <a:pt x="53983" y="94249"/>
                </a:lnTo>
                <a:lnTo>
                  <a:pt x="53983" y="122300"/>
                </a:lnTo>
                <a:lnTo>
                  <a:pt x="0" y="71556"/>
                </a:lnTo>
                <a:lnTo>
                  <a:pt x="0" y="51339"/>
                </a:lnTo>
                <a:lnTo>
                  <a:pt x="53983" y="0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2DED3122-9E6A-7E6F-3B04-5D27CC6BF2BC}"/>
              </a:ext>
            </a:extLst>
          </p:cNvPr>
          <p:cNvSpPr/>
          <p:nvPr/>
        </p:nvSpPr>
        <p:spPr>
          <a:xfrm>
            <a:off x="943210" y="6454379"/>
            <a:ext cx="53982" cy="122300"/>
          </a:xfrm>
          <a:custGeom>
            <a:avLst/>
            <a:gdLst>
              <a:gd name="connsiteX0" fmla="*/ 53983 w 53982"/>
              <a:gd name="connsiteY0" fmla="*/ 51339 h 122300"/>
              <a:gd name="connsiteX1" fmla="*/ 53983 w 53982"/>
              <a:gd name="connsiteY1" fmla="*/ 71556 h 122300"/>
              <a:gd name="connsiteX2" fmla="*/ 0 w 53982"/>
              <a:gd name="connsiteY2" fmla="*/ 122300 h 122300"/>
              <a:gd name="connsiteX3" fmla="*/ 0 w 53982"/>
              <a:gd name="connsiteY3" fmla="*/ 94249 h 122300"/>
              <a:gd name="connsiteX4" fmla="*/ 35361 w 53982"/>
              <a:gd name="connsiteY4" fmla="*/ 61150 h 122300"/>
              <a:gd name="connsiteX5" fmla="*/ 0 w 53982"/>
              <a:gd name="connsiteY5" fmla="*/ 27456 h 122300"/>
              <a:gd name="connsiteX6" fmla="*/ 0 w 53982"/>
              <a:gd name="connsiteY6" fmla="*/ 0 h 122300"/>
              <a:gd name="connsiteX7" fmla="*/ 53983 w 53982"/>
              <a:gd name="connsiteY7" fmla="*/ 51339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51339"/>
                </a:moveTo>
                <a:lnTo>
                  <a:pt x="53983" y="71556"/>
                </a:lnTo>
                <a:lnTo>
                  <a:pt x="0" y="122300"/>
                </a:lnTo>
                <a:lnTo>
                  <a:pt x="0" y="94249"/>
                </a:lnTo>
                <a:lnTo>
                  <a:pt x="35361" y="61150"/>
                </a:lnTo>
                <a:lnTo>
                  <a:pt x="0" y="27456"/>
                </a:lnTo>
                <a:lnTo>
                  <a:pt x="0" y="0"/>
                </a:lnTo>
                <a:lnTo>
                  <a:pt x="53983" y="51339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37D9A75C-F0DD-CBDD-4A81-102387FE5E06}"/>
              </a:ext>
            </a:extLst>
          </p:cNvPr>
          <p:cNvCxnSpPr/>
          <p:nvPr userDrawn="1"/>
        </p:nvCxnSpPr>
        <p:spPr>
          <a:xfrm>
            <a:off x="3782646" y="1193800"/>
            <a:ext cx="15631" cy="3679092"/>
          </a:xfrm>
          <a:prstGeom prst="straightConnector1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9310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DE24B927-3EC2-4323-B375-35AD1C731AD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2503D5-C016-4D7F-83A5-0A293996B8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74065B5-82CF-0942-A54C-2DA21F89667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481E60FF-59F4-A045-B79D-392594C3A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107DFBB-2291-EC41-BE16-FC9C5276EA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13EC089-F387-EA41-87D3-D7758396AE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C0E4EA0-AEC6-2040-9DC8-9823144C8D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19E3807-3E52-E344-BE1D-80D26E0087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B1D9E5D-6DB8-F543-AD52-933C5C991D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CAEE080-41A6-D445-8E6D-2AF68332C8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24A6FF9-0ADC-3D4D-B95A-23ED94770A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7202BF7-08E8-0642-B5BB-1D4E28A491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1DF2E15-278E-BB41-AB8F-A0A51FACFD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70D617C-6EF1-9847-9E19-F322FAC38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49568AB-E132-0347-B868-577B88807D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A277EC2-1880-A64A-8CD9-EAFCECD5EA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8C977B-490A-7A40-83B1-341231F1E4DA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46579F0-C0D7-394C-ABF4-CA5A1613E04C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609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897BD5-071C-4070-AB48-99AEFB09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4070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39377C-A4AF-4B79-9CA5-600FF7C9AA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1E7284-C854-184C-A06D-CACC02F73E92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A1A574-71CC-6640-9BC0-9339C3ABCCC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862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C1C81F5-54D7-4540-9257-18BFF4009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C8D4D26-39BC-439E-9736-9CE3385DD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33501BA-291D-41ED-BCBD-8B23A9C86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D9AC8-F415-4F41-81BB-33EEA9AD708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CAD51B5-4F0B-1246-8F71-7B2D95B954E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B932DC-E0AB-5041-A632-07A26B0EB2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611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148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20255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912147"/>
            <a:ext cx="1127455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3893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9929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49D503E-C57A-9E5B-19CF-94AF46BB63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BD3FFC-05D4-6AF7-0434-C1AC0298E5C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0952C60-604F-9F1A-9D20-17D094CE48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D164F81-CDD1-C1B4-ED55-A3321E1032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DF71D53-1D3F-D8F8-96D5-6DE13F1A9C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42F11AF-BF37-8BBB-B5E7-A8655CF947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1340003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22981608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696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4458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8712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8659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4955F73-BCD8-4858-BDA2-D30A6DDD9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568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DB3700-A2AA-CC46-AB06-739575CE119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8F2DB0F-A762-9841-A4D7-8B6F3D5251E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964562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9EA3FB-C095-0948-83CD-4F812F3CA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6793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01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089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69900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3B5AFB-E799-0442-BA28-6AF5A02967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1194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924339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5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302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37B4F039-C58D-468E-394C-C92CD517A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Content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BDF361-F375-D313-8D06-BDA2782784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BC6E842-5D88-CC5C-F1DA-808D61BEE7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D37A923-9C8E-6CA3-1F51-1680DBD253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B5EB1A-8556-A82E-AC69-301BA431D9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E3B50A-6363-7824-DFC1-3035609DF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3E6F179-1003-654A-7321-F8FE6D12AC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A7166E3-13D7-44C2-45BA-F8800FCD1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42EBD53-BF92-55A6-E85A-50AD5A80A5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1709A76-8AD3-E8A8-447B-E2C8D00A4A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A4DA4A4-AEAC-105E-34C0-12EBA35F10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6DD83F2-9BFD-E0B8-4706-D7200B45DE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D94FEEB-2EA8-081B-0B69-F0ED7A8348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167425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02C5AA0-D8CE-634A-97A8-97B2BC7150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41858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455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906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915859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184C37-FA49-E94C-B478-B1492E6E7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271600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5131219" y="0"/>
            <a:ext cx="706078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C76E4-4D68-894E-AF17-C8188D17CE71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4E5246D-43F4-5946-BF12-EAA7EF1F6B9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564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70CA8-AE5E-9144-B51A-3DB9B2B912F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2E37B5-D917-F347-A92A-FFF42F041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B879C7-3885-2143-A73F-46BF2685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C884B43-5420-8A44-BD3B-D88B17EDD05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251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2505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94358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5" y="0"/>
            <a:ext cx="2371722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8480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49D503E-C57A-9E5B-19CF-94AF46BB63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BD3FFC-05D4-6AF7-0434-C1AC0298E5C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0952C60-604F-9F1A-9D20-17D094CE48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D164F81-CDD1-C1B4-ED55-A3321E1032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DF71D53-1D3F-D8F8-96D5-6DE13F1A9C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42F11AF-BF37-8BBB-B5E7-A8655CF947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1421917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03936-AD1E-BD44-91CB-919F81D7BFEC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D1BED4F-175D-FF44-A003-4A5C8D2123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90E848-D90D-3040-B1C3-7D33F1A7A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EAA2BB-1929-1344-BB72-B8696E5C9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C52A15-EBCB-2E4D-B9B0-C28E4B5B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925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4CC298-22F4-2C44-B143-5C071C1464AE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4434E4-9DFC-C54A-8FA5-A3977779F6D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824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189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6774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15E796-86B4-4C38-A923-10DBDCC4B9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3" y="6469379"/>
            <a:ext cx="1382049" cy="9144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432762-A502-4EDF-9936-2F1B5B291C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3F49D1-094C-794E-ADD9-2E27004213E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B996F9F-D55F-FD42-A589-2783B304344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mtClean="0">
                <a:solidFill>
                  <a:schemeClr val="tx1"/>
                </a:solidFill>
              </a:rPr>
              <a:pPr lvl="0"/>
              <a:t>‹#›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836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6852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">
    <p:bg>
      <p:bgPr>
        <a:solidFill>
          <a:srgbClr val="ABDB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3971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 Descrip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74046861-98EF-8743-9C12-267EC1D8E7B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57200" y="2730381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A666C02-EA3A-C441-B424-21DB595FE3C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57200" y="4238918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</p:spTree>
    <p:extLst>
      <p:ext uri="{BB962C8B-B14F-4D97-AF65-F5344CB8AC3E}">
        <p14:creationId xmlns:p14="http://schemas.microsoft.com/office/powerpoint/2010/main" val="338997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1FB1-EED5-E148-9A93-A29EB92D1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6397" y="1220724"/>
            <a:ext cx="7892478" cy="2712730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50000"/>
              </a:lnSpc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61F754-B893-AE42-8D75-BA81D1A9A8FF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D9E730-867D-BF4D-8996-7605F868D97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D6E288-882B-514C-B335-273A187E2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grpSp>
        <p:nvGrpSpPr>
          <p:cNvPr id="8" name="Graphic 4">
            <a:extLst>
              <a:ext uri="{FF2B5EF4-FFF2-40B4-BE49-F238E27FC236}">
                <a16:creationId xmlns:a16="http://schemas.microsoft.com/office/drawing/2014/main" id="{823A4988-0868-304B-AD24-7AFF2D3D342A}"/>
              </a:ext>
            </a:extLst>
          </p:cNvPr>
          <p:cNvGrpSpPr/>
          <p:nvPr userDrawn="1"/>
        </p:nvGrpSpPr>
        <p:grpSpPr>
          <a:xfrm>
            <a:off x="494098" y="2286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DBA4B6-758F-E547-A4C5-72E7C40C04B9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7A9479-37D0-E448-A740-1DFA8790CA9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981FF5D2-40D7-B048-B33B-B448FA5F16F4}"/>
              </a:ext>
            </a:extLst>
          </p:cNvPr>
          <p:cNvGrpSpPr/>
          <p:nvPr userDrawn="1"/>
        </p:nvGrpSpPr>
        <p:grpSpPr>
          <a:xfrm rot="10800000">
            <a:off x="10425627" y="52197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5EF95A2-728D-A049-91DE-CDD3C11B4CB1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41BF97-F3E8-2C41-8D83-077454953A5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B4BAB6-FAAD-BA41-8450-398BD1279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6808" y="4620894"/>
            <a:ext cx="2822067" cy="257250"/>
          </a:xfrm>
        </p:spPr>
        <p:txBody>
          <a:bodyPr>
            <a:spAutoFit/>
          </a:bodyPr>
          <a:lstStyle>
            <a:lvl1pPr algn="r"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9827168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1FB1-EED5-E148-9A93-A29EB92D1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6397" y="1220724"/>
            <a:ext cx="7892478" cy="2712730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50000"/>
              </a:lnSpc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61F754-B893-AE42-8D75-BA81D1A9A8FF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D9E730-867D-BF4D-8996-7605F868D97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D6E288-882B-514C-B335-273A187E2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grpSp>
        <p:nvGrpSpPr>
          <p:cNvPr id="8" name="Graphic 4">
            <a:extLst>
              <a:ext uri="{FF2B5EF4-FFF2-40B4-BE49-F238E27FC236}">
                <a16:creationId xmlns:a16="http://schemas.microsoft.com/office/drawing/2014/main" id="{823A4988-0868-304B-AD24-7AFF2D3D342A}"/>
              </a:ext>
            </a:extLst>
          </p:cNvPr>
          <p:cNvGrpSpPr/>
          <p:nvPr userDrawn="1"/>
        </p:nvGrpSpPr>
        <p:grpSpPr>
          <a:xfrm>
            <a:off x="494098" y="2286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DBA4B6-758F-E547-A4C5-72E7C40C04B9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7A9479-37D0-E448-A740-1DFA8790CA9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981FF5D2-40D7-B048-B33B-B448FA5F16F4}"/>
              </a:ext>
            </a:extLst>
          </p:cNvPr>
          <p:cNvGrpSpPr/>
          <p:nvPr userDrawn="1"/>
        </p:nvGrpSpPr>
        <p:grpSpPr>
          <a:xfrm rot="10800000">
            <a:off x="10425627" y="52197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5EF95A2-728D-A049-91DE-CDD3C11B4CB1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41BF97-F3E8-2C41-8D83-077454953A5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B4BAB6-FAAD-BA41-8450-398BD1279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6808" y="4620894"/>
            <a:ext cx="2822067" cy="257250"/>
          </a:xfrm>
        </p:spPr>
        <p:txBody>
          <a:bodyPr>
            <a:spAutoFit/>
          </a:bodyPr>
          <a:lstStyle>
            <a:lvl1pPr algn="r"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746534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Agenda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04C027E-E5F6-C4D1-7BE4-B87D52F48E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696A0CB-1C78-8CBF-08C6-7CD08CF1D19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28107B5-87E9-D299-9F61-658CFC39E3B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72B4D0-A39C-FAF6-B1FC-E813800600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00A134C-93F9-0B06-D8F4-9B3C7532A4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37B92C4-122A-5377-7B74-D58A2319E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28A167B-CD8D-159B-58DB-AD9C0600F6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3238DD8-4A7D-554B-8216-37EA1F02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D58AB5-54CF-F584-79F8-821E69DF60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367AC01-84C2-7E8C-3BF8-201856803E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1A9C8-7F43-7DB1-4F91-53075745C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46C8629B-DFA8-41AA-9C67-96D3D02BED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1CC2B96-A6B1-5232-3AEE-F9B7FDBBC1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7A18B250-73F5-69E3-5878-B1D8C984F4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62FE180-ECE1-55D7-0248-053AC1E99B1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3239924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510467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3473674989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4294504939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875002"/>
            <a:ext cx="5530850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07338" y="2286000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07338" y="2746674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07338" y="3039391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07338" y="366107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07338" y="394800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7338" y="4572000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4B6A1A-ED6A-490A-AA56-15684042F07D}"/>
              </a:ext>
            </a:extLst>
          </p:cNvPr>
          <p:cNvCxnSpPr/>
          <p:nvPr userDrawn="1"/>
        </p:nvCxnSpPr>
        <p:spPr>
          <a:xfrm>
            <a:off x="6946900" y="2286000"/>
            <a:ext cx="0" cy="3534697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825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181100"/>
            <a:ext cx="4426771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63" y="2717434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4663" y="3178108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4663" y="3470825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663" y="409250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663" y="437943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663" y="5003434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26DCF78-A14C-7743-94BB-7E13C2AD86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181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4552" cy="457200"/>
          </a:xfrm>
          <a:noFill/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427DA11-3687-A442-B2F4-850BD16074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3"/>
            <a:ext cx="3611880" cy="225707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F04E4308-30A3-C805-E8E2-50B45BCCFEB3}"/>
              </a:ext>
            </a:extLst>
          </p:cNvPr>
          <p:cNvSpPr/>
          <p:nvPr userDrawn="1"/>
        </p:nvSpPr>
        <p:spPr>
          <a:xfrm>
            <a:off x="538139" y="6438901"/>
            <a:ext cx="71889" cy="152637"/>
          </a:xfrm>
          <a:custGeom>
            <a:avLst/>
            <a:gdLst>
              <a:gd name="connsiteX0" fmla="*/ 21002 w 71889"/>
              <a:gd name="connsiteY0" fmla="*/ 64625 h 152637"/>
              <a:gd name="connsiteX1" fmla="*/ 50863 w 71889"/>
              <a:gd name="connsiteY1" fmla="*/ 64625 h 152637"/>
              <a:gd name="connsiteX2" fmla="*/ 50863 w 71889"/>
              <a:gd name="connsiteY2" fmla="*/ 32907 h 152637"/>
              <a:gd name="connsiteX3" fmla="*/ 37600 w 71889"/>
              <a:gd name="connsiteY3" fmla="*/ 19644 h 152637"/>
              <a:gd name="connsiteX4" fmla="*/ 34290 w 71889"/>
              <a:gd name="connsiteY4" fmla="*/ 19644 h 152637"/>
              <a:gd name="connsiteX5" fmla="*/ 21002 w 71889"/>
              <a:gd name="connsiteY5" fmla="*/ 32907 h 152637"/>
              <a:gd name="connsiteX6" fmla="*/ 21002 w 71889"/>
              <a:gd name="connsiteY6" fmla="*/ 84842 h 152637"/>
              <a:gd name="connsiteX7" fmla="*/ 21002 w 71889"/>
              <a:gd name="connsiteY7" fmla="*/ 119727 h 152637"/>
              <a:gd name="connsiteX8" fmla="*/ 34290 w 71889"/>
              <a:gd name="connsiteY8" fmla="*/ 132991 h 152637"/>
              <a:gd name="connsiteX9" fmla="*/ 38147 w 71889"/>
              <a:gd name="connsiteY9" fmla="*/ 132991 h 152637"/>
              <a:gd name="connsiteX10" fmla="*/ 51435 w 71889"/>
              <a:gd name="connsiteY10" fmla="*/ 119727 h 152637"/>
              <a:gd name="connsiteX11" fmla="*/ 51435 w 71889"/>
              <a:gd name="connsiteY11" fmla="*/ 102582 h 152637"/>
              <a:gd name="connsiteX12" fmla="*/ 71889 w 71889"/>
              <a:gd name="connsiteY12" fmla="*/ 102582 h 152637"/>
              <a:gd name="connsiteX13" fmla="*/ 71889 w 71889"/>
              <a:gd name="connsiteY13" fmla="*/ 118894 h 152637"/>
              <a:gd name="connsiteX14" fmla="*/ 38147 w 71889"/>
              <a:gd name="connsiteY14" fmla="*/ 152636 h 152637"/>
              <a:gd name="connsiteX15" fmla="*/ 33718 w 71889"/>
              <a:gd name="connsiteY15" fmla="*/ 152636 h 152637"/>
              <a:gd name="connsiteX16" fmla="*/ 0 w 71889"/>
              <a:gd name="connsiteY16" fmla="*/ 121513 h 152637"/>
              <a:gd name="connsiteX17" fmla="*/ 0 w 71889"/>
              <a:gd name="connsiteY17" fmla="*/ 36360 h 152637"/>
              <a:gd name="connsiteX18" fmla="*/ 33718 w 71889"/>
              <a:gd name="connsiteY18" fmla="*/ -2 h 152637"/>
              <a:gd name="connsiteX19" fmla="*/ 38147 w 71889"/>
              <a:gd name="connsiteY19" fmla="*/ -2 h 152637"/>
              <a:gd name="connsiteX20" fmla="*/ 71889 w 71889"/>
              <a:gd name="connsiteY20" fmla="*/ 33741 h 152637"/>
              <a:gd name="connsiteX21" fmla="*/ 71889 w 71889"/>
              <a:gd name="connsiteY21" fmla="*/ 84842 h 152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1889" h="152637">
                <a:moveTo>
                  <a:pt x="21002" y="64625"/>
                </a:moveTo>
                <a:lnTo>
                  <a:pt x="50863" y="64625"/>
                </a:lnTo>
                <a:lnTo>
                  <a:pt x="50863" y="32907"/>
                </a:lnTo>
                <a:cubicBezTo>
                  <a:pt x="50863" y="24049"/>
                  <a:pt x="46458" y="19644"/>
                  <a:pt x="37600" y="19644"/>
                </a:cubicBezTo>
                <a:lnTo>
                  <a:pt x="34290" y="19644"/>
                </a:lnTo>
                <a:cubicBezTo>
                  <a:pt x="25431" y="19644"/>
                  <a:pt x="21002" y="24049"/>
                  <a:pt x="21002" y="32907"/>
                </a:cubicBezTo>
                <a:close/>
                <a:moveTo>
                  <a:pt x="21002" y="84842"/>
                </a:moveTo>
                <a:lnTo>
                  <a:pt x="21002" y="119727"/>
                </a:lnTo>
                <a:cubicBezTo>
                  <a:pt x="21002" y="128585"/>
                  <a:pt x="25431" y="132991"/>
                  <a:pt x="34290" y="132991"/>
                </a:cubicBezTo>
                <a:lnTo>
                  <a:pt x="38147" y="132991"/>
                </a:lnTo>
                <a:cubicBezTo>
                  <a:pt x="47005" y="132991"/>
                  <a:pt x="51435" y="128585"/>
                  <a:pt x="51435" y="119727"/>
                </a:cubicBezTo>
                <a:lnTo>
                  <a:pt x="51435" y="102582"/>
                </a:lnTo>
                <a:lnTo>
                  <a:pt x="71889" y="102582"/>
                </a:lnTo>
                <a:lnTo>
                  <a:pt x="71889" y="118894"/>
                </a:lnTo>
                <a:cubicBezTo>
                  <a:pt x="71889" y="141301"/>
                  <a:pt x="60555" y="152636"/>
                  <a:pt x="38147" y="152636"/>
                </a:cubicBezTo>
                <a:lnTo>
                  <a:pt x="33718" y="152636"/>
                </a:lnTo>
                <a:cubicBezTo>
                  <a:pt x="11335" y="152636"/>
                  <a:pt x="0" y="141301"/>
                  <a:pt x="0" y="121513"/>
                </a:cubicBezTo>
                <a:lnTo>
                  <a:pt x="0" y="36360"/>
                </a:lnTo>
                <a:cubicBezTo>
                  <a:pt x="0" y="11333"/>
                  <a:pt x="11335" y="-2"/>
                  <a:pt x="33718" y="-2"/>
                </a:cubicBezTo>
                <a:lnTo>
                  <a:pt x="38147" y="-2"/>
                </a:lnTo>
                <a:cubicBezTo>
                  <a:pt x="60555" y="-2"/>
                  <a:pt x="71889" y="11333"/>
                  <a:pt x="71889" y="33741"/>
                </a:cubicBezTo>
                <a:lnTo>
                  <a:pt x="71889" y="84842"/>
                </a:ln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D70FFF38-4802-9447-1A88-FAE35E071462}"/>
              </a:ext>
            </a:extLst>
          </p:cNvPr>
          <p:cNvSpPr/>
          <p:nvPr userDrawn="1"/>
        </p:nvSpPr>
        <p:spPr>
          <a:xfrm>
            <a:off x="623625" y="6438901"/>
            <a:ext cx="73603" cy="190022"/>
          </a:xfrm>
          <a:custGeom>
            <a:avLst/>
            <a:gdLst>
              <a:gd name="connsiteX0" fmla="*/ 21074 w 73603"/>
              <a:gd name="connsiteY0" fmla="*/ 124990 h 190022"/>
              <a:gd name="connsiteX1" fmla="*/ 40481 w 73603"/>
              <a:gd name="connsiteY1" fmla="*/ 132729 h 190022"/>
              <a:gd name="connsiteX2" fmla="*/ 52649 w 73603"/>
              <a:gd name="connsiteY2" fmla="*/ 120560 h 190022"/>
              <a:gd name="connsiteX3" fmla="*/ 52649 w 73603"/>
              <a:gd name="connsiteY3" fmla="*/ 32074 h 190022"/>
              <a:gd name="connsiteX4" fmla="*/ 40481 w 73603"/>
              <a:gd name="connsiteY4" fmla="*/ 19906 h 190022"/>
              <a:gd name="connsiteX5" fmla="*/ 21145 w 73603"/>
              <a:gd name="connsiteY5" fmla="*/ 27645 h 190022"/>
              <a:gd name="connsiteX6" fmla="*/ 0 w 73603"/>
              <a:gd name="connsiteY6" fmla="*/ 1665 h 190022"/>
              <a:gd name="connsiteX7" fmla="*/ 21026 w 73603"/>
              <a:gd name="connsiteY7" fmla="*/ 1665 h 190022"/>
              <a:gd name="connsiteX8" fmla="*/ 21026 w 73603"/>
              <a:gd name="connsiteY8" fmla="*/ 11333 h 190022"/>
              <a:gd name="connsiteX9" fmla="*/ 46791 w 73603"/>
              <a:gd name="connsiteY9" fmla="*/ -2 h 190022"/>
              <a:gd name="connsiteX10" fmla="*/ 73604 w 73603"/>
              <a:gd name="connsiteY10" fmla="*/ 29597 h 190022"/>
              <a:gd name="connsiteX11" fmla="*/ 73604 w 73603"/>
              <a:gd name="connsiteY11" fmla="*/ 123037 h 190022"/>
              <a:gd name="connsiteX12" fmla="*/ 46791 w 73603"/>
              <a:gd name="connsiteY12" fmla="*/ 152636 h 190022"/>
              <a:gd name="connsiteX13" fmla="*/ 21074 w 73603"/>
              <a:gd name="connsiteY13" fmla="*/ 141849 h 190022"/>
              <a:gd name="connsiteX14" fmla="*/ 21074 w 73603"/>
              <a:gd name="connsiteY14" fmla="*/ 190021 h 190022"/>
              <a:gd name="connsiteX15" fmla="*/ 0 w 73603"/>
              <a:gd name="connsiteY15" fmla="*/ 190021 h 190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3603" h="190022">
                <a:moveTo>
                  <a:pt x="21074" y="124990"/>
                </a:moveTo>
                <a:cubicBezTo>
                  <a:pt x="26388" y="129841"/>
                  <a:pt x="33287" y="132592"/>
                  <a:pt x="40481" y="132729"/>
                </a:cubicBezTo>
                <a:cubicBezTo>
                  <a:pt x="48220" y="132729"/>
                  <a:pt x="52649" y="129133"/>
                  <a:pt x="52649" y="120560"/>
                </a:cubicBezTo>
                <a:lnTo>
                  <a:pt x="52649" y="32074"/>
                </a:lnTo>
                <a:cubicBezTo>
                  <a:pt x="52649" y="23501"/>
                  <a:pt x="48220" y="19906"/>
                  <a:pt x="40481" y="19906"/>
                </a:cubicBezTo>
                <a:cubicBezTo>
                  <a:pt x="33311" y="20060"/>
                  <a:pt x="26441" y="22809"/>
                  <a:pt x="21145" y="27645"/>
                </a:cubicBezTo>
                <a:close/>
                <a:moveTo>
                  <a:pt x="0" y="1665"/>
                </a:moveTo>
                <a:lnTo>
                  <a:pt x="21026" y="1665"/>
                </a:lnTo>
                <a:lnTo>
                  <a:pt x="21026" y="11333"/>
                </a:lnTo>
                <a:cubicBezTo>
                  <a:pt x="27666" y="4138"/>
                  <a:pt x="37001" y="31"/>
                  <a:pt x="46791" y="-2"/>
                </a:cubicBezTo>
                <a:cubicBezTo>
                  <a:pt x="64746" y="-2"/>
                  <a:pt x="73604" y="11905"/>
                  <a:pt x="73604" y="29597"/>
                </a:cubicBezTo>
                <a:lnTo>
                  <a:pt x="73604" y="123037"/>
                </a:lnTo>
                <a:cubicBezTo>
                  <a:pt x="73604" y="140730"/>
                  <a:pt x="64746" y="152636"/>
                  <a:pt x="46791" y="152636"/>
                </a:cubicBezTo>
                <a:cubicBezTo>
                  <a:pt x="37118" y="152638"/>
                  <a:pt x="27851" y="148751"/>
                  <a:pt x="21074" y="141849"/>
                </a:cubicBezTo>
                <a:lnTo>
                  <a:pt x="21074" y="190021"/>
                </a:lnTo>
                <a:lnTo>
                  <a:pt x="0" y="190021"/>
                </a:ln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F42C11D1-9A78-66EE-9E8A-3376486BB155}"/>
              </a:ext>
            </a:extLst>
          </p:cNvPr>
          <p:cNvSpPr/>
          <p:nvPr userDrawn="1"/>
        </p:nvSpPr>
        <p:spPr>
          <a:xfrm>
            <a:off x="709802" y="6438901"/>
            <a:ext cx="71365" cy="152518"/>
          </a:xfrm>
          <a:custGeom>
            <a:avLst/>
            <a:gdLst>
              <a:gd name="connsiteX0" fmla="*/ 50434 w 71365"/>
              <a:gd name="connsiteY0" fmla="*/ 125799 h 152518"/>
              <a:gd name="connsiteX1" fmla="*/ 50434 w 71365"/>
              <a:gd name="connsiteY1" fmla="*/ 76555 h 152518"/>
              <a:gd name="connsiteX2" fmla="*/ 31385 w 71365"/>
              <a:gd name="connsiteY2" fmla="*/ 83699 h 152518"/>
              <a:gd name="connsiteX3" fmla="*/ 21145 w 71365"/>
              <a:gd name="connsiteY3" fmla="*/ 99177 h 152518"/>
              <a:gd name="connsiteX4" fmla="*/ 21145 w 71365"/>
              <a:gd name="connsiteY4" fmla="*/ 121846 h 152518"/>
              <a:gd name="connsiteX5" fmla="*/ 31385 w 71365"/>
              <a:gd name="connsiteY5" fmla="*/ 132633 h 152518"/>
              <a:gd name="connsiteX6" fmla="*/ 50434 w 71365"/>
              <a:gd name="connsiteY6" fmla="*/ 125704 h 152518"/>
              <a:gd name="connsiteX7" fmla="*/ 95 w 71365"/>
              <a:gd name="connsiteY7" fmla="*/ 98986 h 152518"/>
              <a:gd name="connsiteX8" fmla="*/ 22217 w 71365"/>
              <a:gd name="connsiteY8" fmla="*/ 67483 h 152518"/>
              <a:gd name="connsiteX9" fmla="*/ 50434 w 71365"/>
              <a:gd name="connsiteY9" fmla="*/ 57791 h 152518"/>
              <a:gd name="connsiteX10" fmla="*/ 50434 w 71365"/>
              <a:gd name="connsiteY10" fmla="*/ 32907 h 152518"/>
              <a:gd name="connsiteX11" fmla="*/ 37147 w 71365"/>
              <a:gd name="connsiteY11" fmla="*/ 19358 h 152518"/>
              <a:gd name="connsiteX12" fmla="*/ 33742 w 71365"/>
              <a:gd name="connsiteY12" fmla="*/ 19358 h 152518"/>
              <a:gd name="connsiteX13" fmla="*/ 20455 w 71365"/>
              <a:gd name="connsiteY13" fmla="*/ 32907 h 152518"/>
              <a:gd name="connsiteX14" fmla="*/ 20455 w 71365"/>
              <a:gd name="connsiteY14" fmla="*/ 54052 h 152518"/>
              <a:gd name="connsiteX15" fmla="*/ 0 w 71365"/>
              <a:gd name="connsiteY15" fmla="*/ 54052 h 152518"/>
              <a:gd name="connsiteX16" fmla="*/ 0 w 71365"/>
              <a:gd name="connsiteY16" fmla="*/ 33741 h 152518"/>
              <a:gd name="connsiteX17" fmla="*/ 33742 w 71365"/>
              <a:gd name="connsiteY17" fmla="*/ -2 h 152518"/>
              <a:gd name="connsiteX18" fmla="*/ 37647 w 71365"/>
              <a:gd name="connsiteY18" fmla="*/ -2 h 152518"/>
              <a:gd name="connsiteX19" fmla="*/ 71365 w 71365"/>
              <a:gd name="connsiteY19" fmla="*/ 33741 h 152518"/>
              <a:gd name="connsiteX20" fmla="*/ 71365 w 71365"/>
              <a:gd name="connsiteY20" fmla="*/ 150969 h 152518"/>
              <a:gd name="connsiteX21" fmla="*/ 50363 w 71365"/>
              <a:gd name="connsiteY21" fmla="*/ 150969 h 152518"/>
              <a:gd name="connsiteX22" fmla="*/ 50363 w 71365"/>
              <a:gd name="connsiteY22" fmla="*/ 141444 h 152518"/>
              <a:gd name="connsiteX23" fmla="*/ 24646 w 71365"/>
              <a:gd name="connsiteY23" fmla="*/ 152517 h 152518"/>
              <a:gd name="connsiteX24" fmla="*/ 24 w 71365"/>
              <a:gd name="connsiteY24" fmla="*/ 126323 h 152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1365" h="152518">
                <a:moveTo>
                  <a:pt x="50434" y="125799"/>
                </a:moveTo>
                <a:lnTo>
                  <a:pt x="50434" y="76555"/>
                </a:lnTo>
                <a:lnTo>
                  <a:pt x="31385" y="83699"/>
                </a:lnTo>
                <a:cubicBezTo>
                  <a:pt x="23622" y="86723"/>
                  <a:pt x="21145" y="90604"/>
                  <a:pt x="21145" y="99177"/>
                </a:cubicBezTo>
                <a:lnTo>
                  <a:pt x="21145" y="121846"/>
                </a:lnTo>
                <a:cubicBezTo>
                  <a:pt x="21145" y="128990"/>
                  <a:pt x="24741" y="132633"/>
                  <a:pt x="31385" y="132633"/>
                </a:cubicBezTo>
                <a:cubicBezTo>
                  <a:pt x="38028" y="132633"/>
                  <a:pt x="43529" y="130419"/>
                  <a:pt x="50434" y="125704"/>
                </a:cubicBezTo>
                <a:moveTo>
                  <a:pt x="95" y="98986"/>
                </a:moveTo>
                <a:cubicBezTo>
                  <a:pt x="95" y="80460"/>
                  <a:pt x="6191" y="73007"/>
                  <a:pt x="22217" y="67483"/>
                </a:cubicBezTo>
                <a:lnTo>
                  <a:pt x="50434" y="57791"/>
                </a:lnTo>
                <a:lnTo>
                  <a:pt x="50434" y="32907"/>
                </a:lnTo>
                <a:cubicBezTo>
                  <a:pt x="50434" y="24073"/>
                  <a:pt x="46005" y="19358"/>
                  <a:pt x="37147" y="19358"/>
                </a:cubicBezTo>
                <a:lnTo>
                  <a:pt x="33742" y="19358"/>
                </a:lnTo>
                <a:cubicBezTo>
                  <a:pt x="24884" y="19358"/>
                  <a:pt x="20455" y="24120"/>
                  <a:pt x="20455" y="32907"/>
                </a:cubicBezTo>
                <a:lnTo>
                  <a:pt x="20455" y="54052"/>
                </a:lnTo>
                <a:lnTo>
                  <a:pt x="0" y="54052"/>
                </a:lnTo>
                <a:lnTo>
                  <a:pt x="0" y="33741"/>
                </a:lnTo>
                <a:cubicBezTo>
                  <a:pt x="0" y="11333"/>
                  <a:pt x="11335" y="-2"/>
                  <a:pt x="33742" y="-2"/>
                </a:cubicBezTo>
                <a:lnTo>
                  <a:pt x="37647" y="-2"/>
                </a:lnTo>
                <a:cubicBezTo>
                  <a:pt x="60031" y="-2"/>
                  <a:pt x="71365" y="11333"/>
                  <a:pt x="71365" y="33741"/>
                </a:cubicBezTo>
                <a:lnTo>
                  <a:pt x="71365" y="150969"/>
                </a:lnTo>
                <a:lnTo>
                  <a:pt x="50363" y="150969"/>
                </a:lnTo>
                <a:lnTo>
                  <a:pt x="50363" y="141444"/>
                </a:lnTo>
                <a:cubicBezTo>
                  <a:pt x="43672" y="148507"/>
                  <a:pt x="34373" y="152510"/>
                  <a:pt x="24646" y="152517"/>
                </a:cubicBezTo>
                <a:cubicBezTo>
                  <a:pt x="7787" y="152517"/>
                  <a:pt x="24" y="142825"/>
                  <a:pt x="24" y="126323"/>
                </a:cubicBez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652E8F3-B597-29E4-8FC5-E9AA855A430A}"/>
              </a:ext>
            </a:extLst>
          </p:cNvPr>
          <p:cNvSpPr/>
          <p:nvPr userDrawn="1"/>
        </p:nvSpPr>
        <p:spPr>
          <a:xfrm>
            <a:off x="794907" y="6438901"/>
            <a:ext cx="121752" cy="150970"/>
          </a:xfrm>
          <a:custGeom>
            <a:avLst/>
            <a:gdLst>
              <a:gd name="connsiteX0" fmla="*/ 71318 w 121752"/>
              <a:gd name="connsiteY0" fmla="*/ 150969 h 150970"/>
              <a:gd name="connsiteX1" fmla="*/ 50315 w 121752"/>
              <a:gd name="connsiteY1" fmla="*/ 150969 h 150970"/>
              <a:gd name="connsiteX2" fmla="*/ 50315 w 121752"/>
              <a:gd name="connsiteY2" fmla="*/ 30693 h 150970"/>
              <a:gd name="connsiteX3" fmla="*/ 40362 w 121752"/>
              <a:gd name="connsiteY3" fmla="*/ 19906 h 150970"/>
              <a:gd name="connsiteX4" fmla="*/ 21002 w 121752"/>
              <a:gd name="connsiteY4" fmla="*/ 27383 h 150970"/>
              <a:gd name="connsiteX5" fmla="*/ 21002 w 121752"/>
              <a:gd name="connsiteY5" fmla="*/ 150969 h 150970"/>
              <a:gd name="connsiteX6" fmla="*/ 0 w 121752"/>
              <a:gd name="connsiteY6" fmla="*/ 150969 h 150970"/>
              <a:gd name="connsiteX7" fmla="*/ 0 w 121752"/>
              <a:gd name="connsiteY7" fmla="*/ 1665 h 150970"/>
              <a:gd name="connsiteX8" fmla="*/ 21002 w 121752"/>
              <a:gd name="connsiteY8" fmla="*/ 1665 h 150970"/>
              <a:gd name="connsiteX9" fmla="*/ 21002 w 121752"/>
              <a:gd name="connsiteY9" fmla="*/ 11333 h 150970"/>
              <a:gd name="connsiteX10" fmla="*/ 46720 w 121752"/>
              <a:gd name="connsiteY10" fmla="*/ -2 h 150970"/>
              <a:gd name="connsiteX11" fmla="*/ 68556 w 121752"/>
              <a:gd name="connsiteY11" fmla="*/ 12167 h 150970"/>
              <a:gd name="connsiteX12" fmla="*/ 97130 w 121752"/>
              <a:gd name="connsiteY12" fmla="*/ -2 h 150970"/>
              <a:gd name="connsiteX13" fmla="*/ 121752 w 121752"/>
              <a:gd name="connsiteY13" fmla="*/ 26192 h 150970"/>
              <a:gd name="connsiteX14" fmla="*/ 121752 w 121752"/>
              <a:gd name="connsiteY14" fmla="*/ 150969 h 150970"/>
              <a:gd name="connsiteX15" fmla="*/ 100726 w 121752"/>
              <a:gd name="connsiteY15" fmla="*/ 150969 h 150970"/>
              <a:gd name="connsiteX16" fmla="*/ 100726 w 121752"/>
              <a:gd name="connsiteY16" fmla="*/ 30693 h 150970"/>
              <a:gd name="connsiteX17" fmla="*/ 90773 w 121752"/>
              <a:gd name="connsiteY17" fmla="*/ 19906 h 150970"/>
              <a:gd name="connsiteX18" fmla="*/ 71413 w 121752"/>
              <a:gd name="connsiteY18" fmla="*/ 27383 h 15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752" h="150970">
                <a:moveTo>
                  <a:pt x="71318" y="150969"/>
                </a:moveTo>
                <a:lnTo>
                  <a:pt x="50315" y="150969"/>
                </a:lnTo>
                <a:lnTo>
                  <a:pt x="50315" y="30693"/>
                </a:lnTo>
                <a:cubicBezTo>
                  <a:pt x="50315" y="23239"/>
                  <a:pt x="46720" y="19906"/>
                  <a:pt x="40362" y="19906"/>
                </a:cubicBezTo>
                <a:cubicBezTo>
                  <a:pt x="34552" y="19906"/>
                  <a:pt x="28456" y="22120"/>
                  <a:pt x="21002" y="27383"/>
                </a:cubicBezTo>
                <a:lnTo>
                  <a:pt x="21002" y="150969"/>
                </a:lnTo>
                <a:lnTo>
                  <a:pt x="0" y="150969"/>
                </a:lnTo>
                <a:lnTo>
                  <a:pt x="0" y="1665"/>
                </a:lnTo>
                <a:lnTo>
                  <a:pt x="21002" y="1665"/>
                </a:lnTo>
                <a:lnTo>
                  <a:pt x="21002" y="11333"/>
                </a:lnTo>
                <a:cubicBezTo>
                  <a:pt x="27098" y="5523"/>
                  <a:pt x="35099" y="-2"/>
                  <a:pt x="46720" y="-2"/>
                </a:cubicBezTo>
                <a:cubicBezTo>
                  <a:pt x="57507" y="-2"/>
                  <a:pt x="64698" y="4428"/>
                  <a:pt x="68556" y="12167"/>
                </a:cubicBezTo>
                <a:cubicBezTo>
                  <a:pt x="76033" y="5809"/>
                  <a:pt x="84867" y="-2"/>
                  <a:pt x="97130" y="-2"/>
                </a:cubicBezTo>
                <a:cubicBezTo>
                  <a:pt x="113442" y="-2"/>
                  <a:pt x="121752" y="9952"/>
                  <a:pt x="121752" y="26192"/>
                </a:cubicBezTo>
                <a:lnTo>
                  <a:pt x="121752" y="150969"/>
                </a:lnTo>
                <a:lnTo>
                  <a:pt x="100726" y="150969"/>
                </a:lnTo>
                <a:lnTo>
                  <a:pt x="100726" y="30693"/>
                </a:lnTo>
                <a:cubicBezTo>
                  <a:pt x="100726" y="23239"/>
                  <a:pt x="97130" y="19906"/>
                  <a:pt x="90773" y="19906"/>
                </a:cubicBezTo>
                <a:cubicBezTo>
                  <a:pt x="84962" y="19906"/>
                  <a:pt x="78866" y="22120"/>
                  <a:pt x="71413" y="27383"/>
                </a:cubicBez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8D58A89A-ACDD-647F-01EF-1002F662329B}"/>
              </a:ext>
            </a:extLst>
          </p:cNvPr>
          <p:cNvSpPr/>
          <p:nvPr userDrawn="1"/>
        </p:nvSpPr>
        <p:spPr>
          <a:xfrm>
            <a:off x="457201" y="6454379"/>
            <a:ext cx="53982" cy="122300"/>
          </a:xfrm>
          <a:custGeom>
            <a:avLst/>
            <a:gdLst>
              <a:gd name="connsiteX0" fmla="*/ 53983 w 53982"/>
              <a:gd name="connsiteY0" fmla="*/ 0 h 122300"/>
              <a:gd name="connsiteX1" fmla="*/ 53983 w 53982"/>
              <a:gd name="connsiteY1" fmla="*/ 27456 h 122300"/>
              <a:gd name="connsiteX2" fmla="*/ 18621 w 53982"/>
              <a:gd name="connsiteY2" fmla="*/ 61150 h 122300"/>
              <a:gd name="connsiteX3" fmla="*/ 53983 w 53982"/>
              <a:gd name="connsiteY3" fmla="*/ 94249 h 122300"/>
              <a:gd name="connsiteX4" fmla="*/ 53983 w 53982"/>
              <a:gd name="connsiteY4" fmla="*/ 122300 h 122300"/>
              <a:gd name="connsiteX5" fmla="*/ 0 w 53982"/>
              <a:gd name="connsiteY5" fmla="*/ 71556 h 122300"/>
              <a:gd name="connsiteX6" fmla="*/ 0 w 53982"/>
              <a:gd name="connsiteY6" fmla="*/ 51339 h 122300"/>
              <a:gd name="connsiteX7" fmla="*/ 53983 w 53982"/>
              <a:gd name="connsiteY7" fmla="*/ 0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0"/>
                </a:moveTo>
                <a:lnTo>
                  <a:pt x="53983" y="27456"/>
                </a:lnTo>
                <a:lnTo>
                  <a:pt x="18621" y="61150"/>
                </a:lnTo>
                <a:lnTo>
                  <a:pt x="53983" y="94249"/>
                </a:lnTo>
                <a:lnTo>
                  <a:pt x="53983" y="122300"/>
                </a:lnTo>
                <a:lnTo>
                  <a:pt x="0" y="71556"/>
                </a:lnTo>
                <a:lnTo>
                  <a:pt x="0" y="51339"/>
                </a:lnTo>
                <a:lnTo>
                  <a:pt x="53983" y="0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4ACE6A3C-44BF-3A00-8A53-EC5788E601C1}"/>
              </a:ext>
            </a:extLst>
          </p:cNvPr>
          <p:cNvSpPr/>
          <p:nvPr userDrawn="1"/>
        </p:nvSpPr>
        <p:spPr>
          <a:xfrm>
            <a:off x="943210" y="6454379"/>
            <a:ext cx="53982" cy="122300"/>
          </a:xfrm>
          <a:custGeom>
            <a:avLst/>
            <a:gdLst>
              <a:gd name="connsiteX0" fmla="*/ 53983 w 53982"/>
              <a:gd name="connsiteY0" fmla="*/ 51339 h 122300"/>
              <a:gd name="connsiteX1" fmla="*/ 53983 w 53982"/>
              <a:gd name="connsiteY1" fmla="*/ 71556 h 122300"/>
              <a:gd name="connsiteX2" fmla="*/ 0 w 53982"/>
              <a:gd name="connsiteY2" fmla="*/ 122300 h 122300"/>
              <a:gd name="connsiteX3" fmla="*/ 0 w 53982"/>
              <a:gd name="connsiteY3" fmla="*/ 94249 h 122300"/>
              <a:gd name="connsiteX4" fmla="*/ 35361 w 53982"/>
              <a:gd name="connsiteY4" fmla="*/ 61150 h 122300"/>
              <a:gd name="connsiteX5" fmla="*/ 0 w 53982"/>
              <a:gd name="connsiteY5" fmla="*/ 27456 h 122300"/>
              <a:gd name="connsiteX6" fmla="*/ 0 w 53982"/>
              <a:gd name="connsiteY6" fmla="*/ 0 h 122300"/>
              <a:gd name="connsiteX7" fmla="*/ 53983 w 53982"/>
              <a:gd name="connsiteY7" fmla="*/ 51339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51339"/>
                </a:moveTo>
                <a:lnTo>
                  <a:pt x="53983" y="71556"/>
                </a:lnTo>
                <a:lnTo>
                  <a:pt x="0" y="122300"/>
                </a:lnTo>
                <a:lnTo>
                  <a:pt x="0" y="94249"/>
                </a:lnTo>
                <a:lnTo>
                  <a:pt x="35361" y="61150"/>
                </a:lnTo>
                <a:lnTo>
                  <a:pt x="0" y="27456"/>
                </a:lnTo>
                <a:lnTo>
                  <a:pt x="0" y="0"/>
                </a:lnTo>
                <a:lnTo>
                  <a:pt x="53983" y="51339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D68CC6-0EBF-2087-3FD8-BC225465CB1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62A66A-7499-E611-8F60-2F02876C9CD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161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4149425420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32537334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bg>
      <p:bgPr>
        <a:solidFill>
          <a:srgbClr val="000C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11274552" cy="457200"/>
          </a:xfrm>
          <a:noFill/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427DA11-3687-A442-B2F4-850BD16074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3"/>
            <a:ext cx="3611880" cy="225707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F04E4308-30A3-C805-E8E2-50B45BCCFEB3}"/>
              </a:ext>
            </a:extLst>
          </p:cNvPr>
          <p:cNvSpPr/>
          <p:nvPr userDrawn="1"/>
        </p:nvSpPr>
        <p:spPr>
          <a:xfrm>
            <a:off x="538139" y="6438901"/>
            <a:ext cx="71889" cy="152637"/>
          </a:xfrm>
          <a:custGeom>
            <a:avLst/>
            <a:gdLst>
              <a:gd name="connsiteX0" fmla="*/ 21002 w 71889"/>
              <a:gd name="connsiteY0" fmla="*/ 64625 h 152637"/>
              <a:gd name="connsiteX1" fmla="*/ 50863 w 71889"/>
              <a:gd name="connsiteY1" fmla="*/ 64625 h 152637"/>
              <a:gd name="connsiteX2" fmla="*/ 50863 w 71889"/>
              <a:gd name="connsiteY2" fmla="*/ 32907 h 152637"/>
              <a:gd name="connsiteX3" fmla="*/ 37600 w 71889"/>
              <a:gd name="connsiteY3" fmla="*/ 19644 h 152637"/>
              <a:gd name="connsiteX4" fmla="*/ 34290 w 71889"/>
              <a:gd name="connsiteY4" fmla="*/ 19644 h 152637"/>
              <a:gd name="connsiteX5" fmla="*/ 21002 w 71889"/>
              <a:gd name="connsiteY5" fmla="*/ 32907 h 152637"/>
              <a:gd name="connsiteX6" fmla="*/ 21002 w 71889"/>
              <a:gd name="connsiteY6" fmla="*/ 84842 h 152637"/>
              <a:gd name="connsiteX7" fmla="*/ 21002 w 71889"/>
              <a:gd name="connsiteY7" fmla="*/ 119727 h 152637"/>
              <a:gd name="connsiteX8" fmla="*/ 34290 w 71889"/>
              <a:gd name="connsiteY8" fmla="*/ 132991 h 152637"/>
              <a:gd name="connsiteX9" fmla="*/ 38147 w 71889"/>
              <a:gd name="connsiteY9" fmla="*/ 132991 h 152637"/>
              <a:gd name="connsiteX10" fmla="*/ 51435 w 71889"/>
              <a:gd name="connsiteY10" fmla="*/ 119727 h 152637"/>
              <a:gd name="connsiteX11" fmla="*/ 51435 w 71889"/>
              <a:gd name="connsiteY11" fmla="*/ 102582 h 152637"/>
              <a:gd name="connsiteX12" fmla="*/ 71889 w 71889"/>
              <a:gd name="connsiteY12" fmla="*/ 102582 h 152637"/>
              <a:gd name="connsiteX13" fmla="*/ 71889 w 71889"/>
              <a:gd name="connsiteY13" fmla="*/ 118894 h 152637"/>
              <a:gd name="connsiteX14" fmla="*/ 38147 w 71889"/>
              <a:gd name="connsiteY14" fmla="*/ 152636 h 152637"/>
              <a:gd name="connsiteX15" fmla="*/ 33718 w 71889"/>
              <a:gd name="connsiteY15" fmla="*/ 152636 h 152637"/>
              <a:gd name="connsiteX16" fmla="*/ 0 w 71889"/>
              <a:gd name="connsiteY16" fmla="*/ 121513 h 152637"/>
              <a:gd name="connsiteX17" fmla="*/ 0 w 71889"/>
              <a:gd name="connsiteY17" fmla="*/ 36360 h 152637"/>
              <a:gd name="connsiteX18" fmla="*/ 33718 w 71889"/>
              <a:gd name="connsiteY18" fmla="*/ -2 h 152637"/>
              <a:gd name="connsiteX19" fmla="*/ 38147 w 71889"/>
              <a:gd name="connsiteY19" fmla="*/ -2 h 152637"/>
              <a:gd name="connsiteX20" fmla="*/ 71889 w 71889"/>
              <a:gd name="connsiteY20" fmla="*/ 33741 h 152637"/>
              <a:gd name="connsiteX21" fmla="*/ 71889 w 71889"/>
              <a:gd name="connsiteY21" fmla="*/ 84842 h 152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1889" h="152637">
                <a:moveTo>
                  <a:pt x="21002" y="64625"/>
                </a:moveTo>
                <a:lnTo>
                  <a:pt x="50863" y="64625"/>
                </a:lnTo>
                <a:lnTo>
                  <a:pt x="50863" y="32907"/>
                </a:lnTo>
                <a:cubicBezTo>
                  <a:pt x="50863" y="24049"/>
                  <a:pt x="46458" y="19644"/>
                  <a:pt x="37600" y="19644"/>
                </a:cubicBezTo>
                <a:lnTo>
                  <a:pt x="34290" y="19644"/>
                </a:lnTo>
                <a:cubicBezTo>
                  <a:pt x="25431" y="19644"/>
                  <a:pt x="21002" y="24049"/>
                  <a:pt x="21002" y="32907"/>
                </a:cubicBezTo>
                <a:close/>
                <a:moveTo>
                  <a:pt x="21002" y="84842"/>
                </a:moveTo>
                <a:lnTo>
                  <a:pt x="21002" y="119727"/>
                </a:lnTo>
                <a:cubicBezTo>
                  <a:pt x="21002" y="128585"/>
                  <a:pt x="25431" y="132991"/>
                  <a:pt x="34290" y="132991"/>
                </a:cubicBezTo>
                <a:lnTo>
                  <a:pt x="38147" y="132991"/>
                </a:lnTo>
                <a:cubicBezTo>
                  <a:pt x="47005" y="132991"/>
                  <a:pt x="51435" y="128585"/>
                  <a:pt x="51435" y="119727"/>
                </a:cubicBezTo>
                <a:lnTo>
                  <a:pt x="51435" y="102582"/>
                </a:lnTo>
                <a:lnTo>
                  <a:pt x="71889" y="102582"/>
                </a:lnTo>
                <a:lnTo>
                  <a:pt x="71889" y="118894"/>
                </a:lnTo>
                <a:cubicBezTo>
                  <a:pt x="71889" y="141301"/>
                  <a:pt x="60555" y="152636"/>
                  <a:pt x="38147" y="152636"/>
                </a:cubicBezTo>
                <a:lnTo>
                  <a:pt x="33718" y="152636"/>
                </a:lnTo>
                <a:cubicBezTo>
                  <a:pt x="11335" y="152636"/>
                  <a:pt x="0" y="141301"/>
                  <a:pt x="0" y="121513"/>
                </a:cubicBezTo>
                <a:lnTo>
                  <a:pt x="0" y="36360"/>
                </a:lnTo>
                <a:cubicBezTo>
                  <a:pt x="0" y="11333"/>
                  <a:pt x="11335" y="-2"/>
                  <a:pt x="33718" y="-2"/>
                </a:cubicBezTo>
                <a:lnTo>
                  <a:pt x="38147" y="-2"/>
                </a:lnTo>
                <a:cubicBezTo>
                  <a:pt x="60555" y="-2"/>
                  <a:pt x="71889" y="11333"/>
                  <a:pt x="71889" y="33741"/>
                </a:cubicBezTo>
                <a:lnTo>
                  <a:pt x="71889" y="84842"/>
                </a:ln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D70FFF38-4802-9447-1A88-FAE35E071462}"/>
              </a:ext>
            </a:extLst>
          </p:cNvPr>
          <p:cNvSpPr/>
          <p:nvPr userDrawn="1"/>
        </p:nvSpPr>
        <p:spPr>
          <a:xfrm>
            <a:off x="623625" y="6438901"/>
            <a:ext cx="73603" cy="190022"/>
          </a:xfrm>
          <a:custGeom>
            <a:avLst/>
            <a:gdLst>
              <a:gd name="connsiteX0" fmla="*/ 21074 w 73603"/>
              <a:gd name="connsiteY0" fmla="*/ 124990 h 190022"/>
              <a:gd name="connsiteX1" fmla="*/ 40481 w 73603"/>
              <a:gd name="connsiteY1" fmla="*/ 132729 h 190022"/>
              <a:gd name="connsiteX2" fmla="*/ 52649 w 73603"/>
              <a:gd name="connsiteY2" fmla="*/ 120560 h 190022"/>
              <a:gd name="connsiteX3" fmla="*/ 52649 w 73603"/>
              <a:gd name="connsiteY3" fmla="*/ 32074 h 190022"/>
              <a:gd name="connsiteX4" fmla="*/ 40481 w 73603"/>
              <a:gd name="connsiteY4" fmla="*/ 19906 h 190022"/>
              <a:gd name="connsiteX5" fmla="*/ 21145 w 73603"/>
              <a:gd name="connsiteY5" fmla="*/ 27645 h 190022"/>
              <a:gd name="connsiteX6" fmla="*/ 0 w 73603"/>
              <a:gd name="connsiteY6" fmla="*/ 1665 h 190022"/>
              <a:gd name="connsiteX7" fmla="*/ 21026 w 73603"/>
              <a:gd name="connsiteY7" fmla="*/ 1665 h 190022"/>
              <a:gd name="connsiteX8" fmla="*/ 21026 w 73603"/>
              <a:gd name="connsiteY8" fmla="*/ 11333 h 190022"/>
              <a:gd name="connsiteX9" fmla="*/ 46791 w 73603"/>
              <a:gd name="connsiteY9" fmla="*/ -2 h 190022"/>
              <a:gd name="connsiteX10" fmla="*/ 73604 w 73603"/>
              <a:gd name="connsiteY10" fmla="*/ 29597 h 190022"/>
              <a:gd name="connsiteX11" fmla="*/ 73604 w 73603"/>
              <a:gd name="connsiteY11" fmla="*/ 123037 h 190022"/>
              <a:gd name="connsiteX12" fmla="*/ 46791 w 73603"/>
              <a:gd name="connsiteY12" fmla="*/ 152636 h 190022"/>
              <a:gd name="connsiteX13" fmla="*/ 21074 w 73603"/>
              <a:gd name="connsiteY13" fmla="*/ 141849 h 190022"/>
              <a:gd name="connsiteX14" fmla="*/ 21074 w 73603"/>
              <a:gd name="connsiteY14" fmla="*/ 190021 h 190022"/>
              <a:gd name="connsiteX15" fmla="*/ 0 w 73603"/>
              <a:gd name="connsiteY15" fmla="*/ 190021 h 190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3603" h="190022">
                <a:moveTo>
                  <a:pt x="21074" y="124990"/>
                </a:moveTo>
                <a:cubicBezTo>
                  <a:pt x="26388" y="129841"/>
                  <a:pt x="33287" y="132592"/>
                  <a:pt x="40481" y="132729"/>
                </a:cubicBezTo>
                <a:cubicBezTo>
                  <a:pt x="48220" y="132729"/>
                  <a:pt x="52649" y="129133"/>
                  <a:pt x="52649" y="120560"/>
                </a:cubicBezTo>
                <a:lnTo>
                  <a:pt x="52649" y="32074"/>
                </a:lnTo>
                <a:cubicBezTo>
                  <a:pt x="52649" y="23501"/>
                  <a:pt x="48220" y="19906"/>
                  <a:pt x="40481" y="19906"/>
                </a:cubicBezTo>
                <a:cubicBezTo>
                  <a:pt x="33311" y="20060"/>
                  <a:pt x="26441" y="22809"/>
                  <a:pt x="21145" y="27645"/>
                </a:cubicBezTo>
                <a:close/>
                <a:moveTo>
                  <a:pt x="0" y="1665"/>
                </a:moveTo>
                <a:lnTo>
                  <a:pt x="21026" y="1665"/>
                </a:lnTo>
                <a:lnTo>
                  <a:pt x="21026" y="11333"/>
                </a:lnTo>
                <a:cubicBezTo>
                  <a:pt x="27666" y="4138"/>
                  <a:pt x="37001" y="31"/>
                  <a:pt x="46791" y="-2"/>
                </a:cubicBezTo>
                <a:cubicBezTo>
                  <a:pt x="64746" y="-2"/>
                  <a:pt x="73604" y="11905"/>
                  <a:pt x="73604" y="29597"/>
                </a:cubicBezTo>
                <a:lnTo>
                  <a:pt x="73604" y="123037"/>
                </a:lnTo>
                <a:cubicBezTo>
                  <a:pt x="73604" y="140730"/>
                  <a:pt x="64746" y="152636"/>
                  <a:pt x="46791" y="152636"/>
                </a:cubicBezTo>
                <a:cubicBezTo>
                  <a:pt x="37118" y="152638"/>
                  <a:pt x="27851" y="148751"/>
                  <a:pt x="21074" y="141849"/>
                </a:cubicBezTo>
                <a:lnTo>
                  <a:pt x="21074" y="190021"/>
                </a:lnTo>
                <a:lnTo>
                  <a:pt x="0" y="190021"/>
                </a:ln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F42C11D1-9A78-66EE-9E8A-3376486BB155}"/>
              </a:ext>
            </a:extLst>
          </p:cNvPr>
          <p:cNvSpPr/>
          <p:nvPr userDrawn="1"/>
        </p:nvSpPr>
        <p:spPr>
          <a:xfrm>
            <a:off x="709802" y="6438901"/>
            <a:ext cx="71365" cy="152518"/>
          </a:xfrm>
          <a:custGeom>
            <a:avLst/>
            <a:gdLst>
              <a:gd name="connsiteX0" fmla="*/ 50434 w 71365"/>
              <a:gd name="connsiteY0" fmla="*/ 125799 h 152518"/>
              <a:gd name="connsiteX1" fmla="*/ 50434 w 71365"/>
              <a:gd name="connsiteY1" fmla="*/ 76555 h 152518"/>
              <a:gd name="connsiteX2" fmla="*/ 31385 w 71365"/>
              <a:gd name="connsiteY2" fmla="*/ 83699 h 152518"/>
              <a:gd name="connsiteX3" fmla="*/ 21145 w 71365"/>
              <a:gd name="connsiteY3" fmla="*/ 99177 h 152518"/>
              <a:gd name="connsiteX4" fmla="*/ 21145 w 71365"/>
              <a:gd name="connsiteY4" fmla="*/ 121846 h 152518"/>
              <a:gd name="connsiteX5" fmla="*/ 31385 w 71365"/>
              <a:gd name="connsiteY5" fmla="*/ 132633 h 152518"/>
              <a:gd name="connsiteX6" fmla="*/ 50434 w 71365"/>
              <a:gd name="connsiteY6" fmla="*/ 125704 h 152518"/>
              <a:gd name="connsiteX7" fmla="*/ 95 w 71365"/>
              <a:gd name="connsiteY7" fmla="*/ 98986 h 152518"/>
              <a:gd name="connsiteX8" fmla="*/ 22217 w 71365"/>
              <a:gd name="connsiteY8" fmla="*/ 67483 h 152518"/>
              <a:gd name="connsiteX9" fmla="*/ 50434 w 71365"/>
              <a:gd name="connsiteY9" fmla="*/ 57791 h 152518"/>
              <a:gd name="connsiteX10" fmla="*/ 50434 w 71365"/>
              <a:gd name="connsiteY10" fmla="*/ 32907 h 152518"/>
              <a:gd name="connsiteX11" fmla="*/ 37147 w 71365"/>
              <a:gd name="connsiteY11" fmla="*/ 19358 h 152518"/>
              <a:gd name="connsiteX12" fmla="*/ 33742 w 71365"/>
              <a:gd name="connsiteY12" fmla="*/ 19358 h 152518"/>
              <a:gd name="connsiteX13" fmla="*/ 20455 w 71365"/>
              <a:gd name="connsiteY13" fmla="*/ 32907 h 152518"/>
              <a:gd name="connsiteX14" fmla="*/ 20455 w 71365"/>
              <a:gd name="connsiteY14" fmla="*/ 54052 h 152518"/>
              <a:gd name="connsiteX15" fmla="*/ 0 w 71365"/>
              <a:gd name="connsiteY15" fmla="*/ 54052 h 152518"/>
              <a:gd name="connsiteX16" fmla="*/ 0 w 71365"/>
              <a:gd name="connsiteY16" fmla="*/ 33741 h 152518"/>
              <a:gd name="connsiteX17" fmla="*/ 33742 w 71365"/>
              <a:gd name="connsiteY17" fmla="*/ -2 h 152518"/>
              <a:gd name="connsiteX18" fmla="*/ 37647 w 71365"/>
              <a:gd name="connsiteY18" fmla="*/ -2 h 152518"/>
              <a:gd name="connsiteX19" fmla="*/ 71365 w 71365"/>
              <a:gd name="connsiteY19" fmla="*/ 33741 h 152518"/>
              <a:gd name="connsiteX20" fmla="*/ 71365 w 71365"/>
              <a:gd name="connsiteY20" fmla="*/ 150969 h 152518"/>
              <a:gd name="connsiteX21" fmla="*/ 50363 w 71365"/>
              <a:gd name="connsiteY21" fmla="*/ 150969 h 152518"/>
              <a:gd name="connsiteX22" fmla="*/ 50363 w 71365"/>
              <a:gd name="connsiteY22" fmla="*/ 141444 h 152518"/>
              <a:gd name="connsiteX23" fmla="*/ 24646 w 71365"/>
              <a:gd name="connsiteY23" fmla="*/ 152517 h 152518"/>
              <a:gd name="connsiteX24" fmla="*/ 24 w 71365"/>
              <a:gd name="connsiteY24" fmla="*/ 126323 h 152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1365" h="152518">
                <a:moveTo>
                  <a:pt x="50434" y="125799"/>
                </a:moveTo>
                <a:lnTo>
                  <a:pt x="50434" y="76555"/>
                </a:lnTo>
                <a:lnTo>
                  <a:pt x="31385" y="83699"/>
                </a:lnTo>
                <a:cubicBezTo>
                  <a:pt x="23622" y="86723"/>
                  <a:pt x="21145" y="90604"/>
                  <a:pt x="21145" y="99177"/>
                </a:cubicBezTo>
                <a:lnTo>
                  <a:pt x="21145" y="121846"/>
                </a:lnTo>
                <a:cubicBezTo>
                  <a:pt x="21145" y="128990"/>
                  <a:pt x="24741" y="132633"/>
                  <a:pt x="31385" y="132633"/>
                </a:cubicBezTo>
                <a:cubicBezTo>
                  <a:pt x="38028" y="132633"/>
                  <a:pt x="43529" y="130419"/>
                  <a:pt x="50434" y="125704"/>
                </a:cubicBezTo>
                <a:moveTo>
                  <a:pt x="95" y="98986"/>
                </a:moveTo>
                <a:cubicBezTo>
                  <a:pt x="95" y="80460"/>
                  <a:pt x="6191" y="73007"/>
                  <a:pt x="22217" y="67483"/>
                </a:cubicBezTo>
                <a:lnTo>
                  <a:pt x="50434" y="57791"/>
                </a:lnTo>
                <a:lnTo>
                  <a:pt x="50434" y="32907"/>
                </a:lnTo>
                <a:cubicBezTo>
                  <a:pt x="50434" y="24073"/>
                  <a:pt x="46005" y="19358"/>
                  <a:pt x="37147" y="19358"/>
                </a:cubicBezTo>
                <a:lnTo>
                  <a:pt x="33742" y="19358"/>
                </a:lnTo>
                <a:cubicBezTo>
                  <a:pt x="24884" y="19358"/>
                  <a:pt x="20455" y="24120"/>
                  <a:pt x="20455" y="32907"/>
                </a:cubicBezTo>
                <a:lnTo>
                  <a:pt x="20455" y="54052"/>
                </a:lnTo>
                <a:lnTo>
                  <a:pt x="0" y="54052"/>
                </a:lnTo>
                <a:lnTo>
                  <a:pt x="0" y="33741"/>
                </a:lnTo>
                <a:cubicBezTo>
                  <a:pt x="0" y="11333"/>
                  <a:pt x="11335" y="-2"/>
                  <a:pt x="33742" y="-2"/>
                </a:cubicBezTo>
                <a:lnTo>
                  <a:pt x="37647" y="-2"/>
                </a:lnTo>
                <a:cubicBezTo>
                  <a:pt x="60031" y="-2"/>
                  <a:pt x="71365" y="11333"/>
                  <a:pt x="71365" y="33741"/>
                </a:cubicBezTo>
                <a:lnTo>
                  <a:pt x="71365" y="150969"/>
                </a:lnTo>
                <a:lnTo>
                  <a:pt x="50363" y="150969"/>
                </a:lnTo>
                <a:lnTo>
                  <a:pt x="50363" y="141444"/>
                </a:lnTo>
                <a:cubicBezTo>
                  <a:pt x="43672" y="148507"/>
                  <a:pt x="34373" y="152510"/>
                  <a:pt x="24646" y="152517"/>
                </a:cubicBezTo>
                <a:cubicBezTo>
                  <a:pt x="7787" y="152517"/>
                  <a:pt x="24" y="142825"/>
                  <a:pt x="24" y="126323"/>
                </a:cubicBez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652E8F3-B597-29E4-8FC5-E9AA855A430A}"/>
              </a:ext>
            </a:extLst>
          </p:cNvPr>
          <p:cNvSpPr/>
          <p:nvPr userDrawn="1"/>
        </p:nvSpPr>
        <p:spPr>
          <a:xfrm>
            <a:off x="794907" y="6438901"/>
            <a:ext cx="121752" cy="150970"/>
          </a:xfrm>
          <a:custGeom>
            <a:avLst/>
            <a:gdLst>
              <a:gd name="connsiteX0" fmla="*/ 71318 w 121752"/>
              <a:gd name="connsiteY0" fmla="*/ 150969 h 150970"/>
              <a:gd name="connsiteX1" fmla="*/ 50315 w 121752"/>
              <a:gd name="connsiteY1" fmla="*/ 150969 h 150970"/>
              <a:gd name="connsiteX2" fmla="*/ 50315 w 121752"/>
              <a:gd name="connsiteY2" fmla="*/ 30693 h 150970"/>
              <a:gd name="connsiteX3" fmla="*/ 40362 w 121752"/>
              <a:gd name="connsiteY3" fmla="*/ 19906 h 150970"/>
              <a:gd name="connsiteX4" fmla="*/ 21002 w 121752"/>
              <a:gd name="connsiteY4" fmla="*/ 27383 h 150970"/>
              <a:gd name="connsiteX5" fmla="*/ 21002 w 121752"/>
              <a:gd name="connsiteY5" fmla="*/ 150969 h 150970"/>
              <a:gd name="connsiteX6" fmla="*/ 0 w 121752"/>
              <a:gd name="connsiteY6" fmla="*/ 150969 h 150970"/>
              <a:gd name="connsiteX7" fmla="*/ 0 w 121752"/>
              <a:gd name="connsiteY7" fmla="*/ 1665 h 150970"/>
              <a:gd name="connsiteX8" fmla="*/ 21002 w 121752"/>
              <a:gd name="connsiteY8" fmla="*/ 1665 h 150970"/>
              <a:gd name="connsiteX9" fmla="*/ 21002 w 121752"/>
              <a:gd name="connsiteY9" fmla="*/ 11333 h 150970"/>
              <a:gd name="connsiteX10" fmla="*/ 46720 w 121752"/>
              <a:gd name="connsiteY10" fmla="*/ -2 h 150970"/>
              <a:gd name="connsiteX11" fmla="*/ 68556 w 121752"/>
              <a:gd name="connsiteY11" fmla="*/ 12167 h 150970"/>
              <a:gd name="connsiteX12" fmla="*/ 97130 w 121752"/>
              <a:gd name="connsiteY12" fmla="*/ -2 h 150970"/>
              <a:gd name="connsiteX13" fmla="*/ 121752 w 121752"/>
              <a:gd name="connsiteY13" fmla="*/ 26192 h 150970"/>
              <a:gd name="connsiteX14" fmla="*/ 121752 w 121752"/>
              <a:gd name="connsiteY14" fmla="*/ 150969 h 150970"/>
              <a:gd name="connsiteX15" fmla="*/ 100726 w 121752"/>
              <a:gd name="connsiteY15" fmla="*/ 150969 h 150970"/>
              <a:gd name="connsiteX16" fmla="*/ 100726 w 121752"/>
              <a:gd name="connsiteY16" fmla="*/ 30693 h 150970"/>
              <a:gd name="connsiteX17" fmla="*/ 90773 w 121752"/>
              <a:gd name="connsiteY17" fmla="*/ 19906 h 150970"/>
              <a:gd name="connsiteX18" fmla="*/ 71413 w 121752"/>
              <a:gd name="connsiteY18" fmla="*/ 27383 h 15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752" h="150970">
                <a:moveTo>
                  <a:pt x="71318" y="150969"/>
                </a:moveTo>
                <a:lnTo>
                  <a:pt x="50315" y="150969"/>
                </a:lnTo>
                <a:lnTo>
                  <a:pt x="50315" y="30693"/>
                </a:lnTo>
                <a:cubicBezTo>
                  <a:pt x="50315" y="23239"/>
                  <a:pt x="46720" y="19906"/>
                  <a:pt x="40362" y="19906"/>
                </a:cubicBezTo>
                <a:cubicBezTo>
                  <a:pt x="34552" y="19906"/>
                  <a:pt x="28456" y="22120"/>
                  <a:pt x="21002" y="27383"/>
                </a:cubicBezTo>
                <a:lnTo>
                  <a:pt x="21002" y="150969"/>
                </a:lnTo>
                <a:lnTo>
                  <a:pt x="0" y="150969"/>
                </a:lnTo>
                <a:lnTo>
                  <a:pt x="0" y="1665"/>
                </a:lnTo>
                <a:lnTo>
                  <a:pt x="21002" y="1665"/>
                </a:lnTo>
                <a:lnTo>
                  <a:pt x="21002" y="11333"/>
                </a:lnTo>
                <a:cubicBezTo>
                  <a:pt x="27098" y="5523"/>
                  <a:pt x="35099" y="-2"/>
                  <a:pt x="46720" y="-2"/>
                </a:cubicBezTo>
                <a:cubicBezTo>
                  <a:pt x="57507" y="-2"/>
                  <a:pt x="64698" y="4428"/>
                  <a:pt x="68556" y="12167"/>
                </a:cubicBezTo>
                <a:cubicBezTo>
                  <a:pt x="76033" y="5809"/>
                  <a:pt x="84867" y="-2"/>
                  <a:pt x="97130" y="-2"/>
                </a:cubicBezTo>
                <a:cubicBezTo>
                  <a:pt x="113442" y="-2"/>
                  <a:pt x="121752" y="9952"/>
                  <a:pt x="121752" y="26192"/>
                </a:cubicBezTo>
                <a:lnTo>
                  <a:pt x="121752" y="150969"/>
                </a:lnTo>
                <a:lnTo>
                  <a:pt x="100726" y="150969"/>
                </a:lnTo>
                <a:lnTo>
                  <a:pt x="100726" y="30693"/>
                </a:lnTo>
                <a:cubicBezTo>
                  <a:pt x="100726" y="23239"/>
                  <a:pt x="97130" y="19906"/>
                  <a:pt x="90773" y="19906"/>
                </a:cubicBezTo>
                <a:cubicBezTo>
                  <a:pt x="84962" y="19906"/>
                  <a:pt x="78866" y="22120"/>
                  <a:pt x="71413" y="27383"/>
                </a:cubicBezTo>
                <a:close/>
              </a:path>
            </a:pathLst>
          </a:custGeom>
          <a:solidFill>
            <a:srgbClr val="FFFFFF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8D58A89A-ACDD-647F-01EF-1002F662329B}"/>
              </a:ext>
            </a:extLst>
          </p:cNvPr>
          <p:cNvSpPr/>
          <p:nvPr userDrawn="1"/>
        </p:nvSpPr>
        <p:spPr>
          <a:xfrm>
            <a:off x="457201" y="6454379"/>
            <a:ext cx="53982" cy="122300"/>
          </a:xfrm>
          <a:custGeom>
            <a:avLst/>
            <a:gdLst>
              <a:gd name="connsiteX0" fmla="*/ 53983 w 53982"/>
              <a:gd name="connsiteY0" fmla="*/ 0 h 122300"/>
              <a:gd name="connsiteX1" fmla="*/ 53983 w 53982"/>
              <a:gd name="connsiteY1" fmla="*/ 27456 h 122300"/>
              <a:gd name="connsiteX2" fmla="*/ 18621 w 53982"/>
              <a:gd name="connsiteY2" fmla="*/ 61150 h 122300"/>
              <a:gd name="connsiteX3" fmla="*/ 53983 w 53982"/>
              <a:gd name="connsiteY3" fmla="*/ 94249 h 122300"/>
              <a:gd name="connsiteX4" fmla="*/ 53983 w 53982"/>
              <a:gd name="connsiteY4" fmla="*/ 122300 h 122300"/>
              <a:gd name="connsiteX5" fmla="*/ 0 w 53982"/>
              <a:gd name="connsiteY5" fmla="*/ 71556 h 122300"/>
              <a:gd name="connsiteX6" fmla="*/ 0 w 53982"/>
              <a:gd name="connsiteY6" fmla="*/ 51339 h 122300"/>
              <a:gd name="connsiteX7" fmla="*/ 53983 w 53982"/>
              <a:gd name="connsiteY7" fmla="*/ 0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0"/>
                </a:moveTo>
                <a:lnTo>
                  <a:pt x="53983" y="27456"/>
                </a:lnTo>
                <a:lnTo>
                  <a:pt x="18621" y="61150"/>
                </a:lnTo>
                <a:lnTo>
                  <a:pt x="53983" y="94249"/>
                </a:lnTo>
                <a:lnTo>
                  <a:pt x="53983" y="122300"/>
                </a:lnTo>
                <a:lnTo>
                  <a:pt x="0" y="71556"/>
                </a:lnTo>
                <a:lnTo>
                  <a:pt x="0" y="51339"/>
                </a:lnTo>
                <a:lnTo>
                  <a:pt x="53983" y="0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4ACE6A3C-44BF-3A00-8A53-EC5788E601C1}"/>
              </a:ext>
            </a:extLst>
          </p:cNvPr>
          <p:cNvSpPr/>
          <p:nvPr userDrawn="1"/>
        </p:nvSpPr>
        <p:spPr>
          <a:xfrm>
            <a:off x="943210" y="6454379"/>
            <a:ext cx="53982" cy="122300"/>
          </a:xfrm>
          <a:custGeom>
            <a:avLst/>
            <a:gdLst>
              <a:gd name="connsiteX0" fmla="*/ 53983 w 53982"/>
              <a:gd name="connsiteY0" fmla="*/ 51339 h 122300"/>
              <a:gd name="connsiteX1" fmla="*/ 53983 w 53982"/>
              <a:gd name="connsiteY1" fmla="*/ 71556 h 122300"/>
              <a:gd name="connsiteX2" fmla="*/ 0 w 53982"/>
              <a:gd name="connsiteY2" fmla="*/ 122300 h 122300"/>
              <a:gd name="connsiteX3" fmla="*/ 0 w 53982"/>
              <a:gd name="connsiteY3" fmla="*/ 94249 h 122300"/>
              <a:gd name="connsiteX4" fmla="*/ 35361 w 53982"/>
              <a:gd name="connsiteY4" fmla="*/ 61150 h 122300"/>
              <a:gd name="connsiteX5" fmla="*/ 0 w 53982"/>
              <a:gd name="connsiteY5" fmla="*/ 27456 h 122300"/>
              <a:gd name="connsiteX6" fmla="*/ 0 w 53982"/>
              <a:gd name="connsiteY6" fmla="*/ 0 h 122300"/>
              <a:gd name="connsiteX7" fmla="*/ 53983 w 53982"/>
              <a:gd name="connsiteY7" fmla="*/ 51339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51339"/>
                </a:moveTo>
                <a:lnTo>
                  <a:pt x="53983" y="71556"/>
                </a:lnTo>
                <a:lnTo>
                  <a:pt x="0" y="122300"/>
                </a:lnTo>
                <a:lnTo>
                  <a:pt x="0" y="94249"/>
                </a:lnTo>
                <a:lnTo>
                  <a:pt x="35361" y="61150"/>
                </a:lnTo>
                <a:lnTo>
                  <a:pt x="0" y="27456"/>
                </a:lnTo>
                <a:lnTo>
                  <a:pt x="0" y="0"/>
                </a:lnTo>
                <a:lnTo>
                  <a:pt x="53983" y="51339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D68CC6-0EBF-2087-3FD8-BC225465CB1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62A66A-7499-E611-8F60-2F02876C9CD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595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31313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6/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222222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ct val="100000"/>
              </a:lnSpc>
              <a:spcBef>
                <a:spcPts val="60"/>
              </a:spcBef>
              <a:tabLst>
                <a:tab pos="1317625" algn="l"/>
              </a:tabLst>
            </a:pPr>
            <a:r>
              <a:t>EPAM</a:t>
            </a:r>
            <a:r>
              <a:rPr spc="-10"/>
              <a:t> </a:t>
            </a:r>
            <a:r>
              <a:t>Proprietary</a:t>
            </a:r>
            <a:r>
              <a:rPr spc="-10"/>
              <a:t> </a:t>
            </a:r>
            <a:r>
              <a:t>&amp;</a:t>
            </a:r>
            <a:r>
              <a:rPr spc="-5"/>
              <a:t> </a:t>
            </a:r>
            <a:r>
              <a:rPr spc="-10"/>
              <a:t>Confidential.</a:t>
            </a:r>
            <a:r>
              <a:t>	</a:t>
            </a:r>
            <a:fld id="{81D60167-4931-47E6-BA6A-407CBD079E47}" type="slidenum">
              <a:rPr sz="800" spc="-25" dirty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4822869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19866F5-F57A-6C40-4D30-D67CB6A3D2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0EC5345-D2D0-6B03-7DDB-B62AB6432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B32F50E-D900-4FFA-87A8-502151FBE2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BA73176-A11D-D62A-EC12-39C3DF983B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ED43E1-5036-AF03-3AFC-AC404D716E48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4AFFE7B-BAB3-2BE6-68C7-82413494811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05957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Grey_Lef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DBC29F-68B3-4805-9B0F-6C9F4A34CFEB}"/>
              </a:ext>
            </a:extLst>
          </p:cNvPr>
          <p:cNvSpPr/>
          <p:nvPr userDrawn="1"/>
        </p:nvSpPr>
        <p:spPr>
          <a:xfrm>
            <a:off x="1" y="1"/>
            <a:ext cx="457926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8" y="305066"/>
            <a:ext cx="3626701" cy="338554"/>
          </a:xfrm>
        </p:spPr>
        <p:txBody>
          <a:bodyPr vert="horz" wrap="square" lIns="0" tIns="0" rIns="9144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9489A8-F456-4DF4-BAEB-A0A0A08E4E65}"/>
              </a:ext>
            </a:extLst>
          </p:cNvPr>
          <p:cNvSpPr txBox="1"/>
          <p:nvPr userDrawn="1"/>
        </p:nvSpPr>
        <p:spPr>
          <a:xfrm>
            <a:off x="1143600" y="6537017"/>
            <a:ext cx="1762160" cy="243840"/>
          </a:xfrm>
          <a:prstGeom prst="rect">
            <a:avLst/>
          </a:prstGeom>
          <a:noFill/>
        </p:spPr>
        <p:txBody>
          <a:bodyPr wrap="square" lIns="91368" tIns="45719" rIns="91368" bIns="45719" rtlCol="0" anchor="ctr">
            <a:noAutofit/>
          </a:bodyPr>
          <a:lstStyle/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tx2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tx2"/>
              </a:solidFill>
              <a:cs typeface="Trebuchet M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0D941D-0D67-428B-8276-4014EF8891A3}"/>
              </a:ext>
            </a:extLst>
          </p:cNvPr>
          <p:cNvCxnSpPr/>
          <p:nvPr userDrawn="1"/>
        </p:nvCxnSpPr>
        <p:spPr>
          <a:xfrm>
            <a:off x="1140212" y="6565731"/>
            <a:ext cx="0" cy="164592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139C1735-3037-4D46-8890-1009D469BD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9" y="6498425"/>
            <a:ext cx="702720" cy="351955"/>
          </a:xfrm>
          <a:prstGeom prst="rect">
            <a:avLst/>
          </a:prstGeom>
        </p:spPr>
      </p:pic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780695" y="6537017"/>
            <a:ext cx="1962151" cy="243840"/>
          </a:xfrm>
          <a:prstGeom prst="rect">
            <a:avLst/>
          </a:prstGeom>
          <a:noFill/>
        </p:spPr>
        <p:txBody>
          <a:bodyPr wrap="square" lIns="68526" tIns="34289" rIns="68526" bIns="34289" rtlCol="0" anchor="ctr">
            <a:noAutofit/>
          </a:bodyPr>
          <a:lstStyle>
            <a:lvl1pPr>
              <a:defRPr lang="en-US" sz="1067" kern="0" spc="20" smtClean="0">
                <a:solidFill>
                  <a:schemeClr val="tx2"/>
                </a:solidFill>
                <a:cs typeface="Trebuchet MS"/>
              </a:defRPr>
            </a:lvl1pPr>
          </a:lstStyle>
          <a:p>
            <a:pPr algn="r" defTabSz="456699"/>
            <a:fld id="{04825EE3-D40C-4F67-95F2-2B3AD93195DA}" type="slidenum">
              <a:rPr lang="en-LV" smtClean="0"/>
              <a:pPr algn="r" defTabSz="456699"/>
              <a:t>‹#›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843930074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L&amp;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8B8D6-98E5-5F47-8FB1-E28E68605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1292" y="3429000"/>
            <a:ext cx="6890161" cy="2743201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1" i="0">
                <a:solidFill>
                  <a:schemeClr val="bg1"/>
                </a:solidFill>
                <a:latin typeface="Museo Slab 1000" panose="02000000000000000000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OVER WITH</a:t>
            </a:r>
            <a:br>
              <a:rPr lang="en-US"/>
            </a:br>
            <a:r>
              <a:rPr lang="en-GB" sz="6000" b="1">
                <a:solidFill>
                  <a:srgbClr val="FFFFFF"/>
                </a:solidFill>
                <a:effectLst/>
                <a:latin typeface="Museo Slab 1000" panose="02000000000000000000" pitchFamily="2" charset="77"/>
              </a:rPr>
              <a:t>TITLE OF THE</a:t>
            </a:r>
            <a:br>
              <a:rPr lang="en-GB" sz="6000" b="1">
                <a:solidFill>
                  <a:srgbClr val="FFFFFF"/>
                </a:solidFill>
                <a:effectLst/>
                <a:latin typeface="Museo Slab 1000" panose="02000000000000000000" pitchFamily="2" charset="77"/>
              </a:rPr>
            </a:br>
            <a:r>
              <a:rPr lang="en-GB" sz="6000" b="1">
                <a:solidFill>
                  <a:srgbClr val="FFFFFF"/>
                </a:solidFill>
                <a:effectLst/>
                <a:latin typeface="Museo Slab 1000" panose="02000000000000000000" pitchFamily="2" charset="77"/>
              </a:rPr>
              <a:t>PRESENTATION</a:t>
            </a:r>
            <a:endParaRPr lang="en-BY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E9A6750-866C-7545-9F09-8DB2BA9B1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6017" y="634092"/>
            <a:ext cx="963578" cy="1015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249303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133"/>
            </a:lvl1pPr>
          </a:lstStyle>
          <a:p>
            <a:r>
              <a:rPr lang="en-US"/>
              <a:t>Please add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7" y="300785"/>
            <a:ext cx="5920315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76251" y="1456655"/>
            <a:ext cx="475488" cy="475488"/>
          </a:xfrm>
          <a:ln w="190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867" b="1">
                <a:solidFill>
                  <a:schemeClr val="accent2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947963" y="1456655"/>
            <a:ext cx="5452837" cy="475488"/>
          </a:xfrm>
          <a:ln w="19050">
            <a:solidFill>
              <a:schemeClr val="bg2"/>
            </a:solidFill>
          </a:ln>
        </p:spPr>
        <p:txBody>
          <a:bodyPr lIns="108000" anchor="ctr"/>
          <a:lstStyle>
            <a:lvl1pPr marL="0" indent="0">
              <a:buNone/>
              <a:defRPr sz="1467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one title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6251" y="5493512"/>
            <a:ext cx="475488" cy="475488"/>
          </a:xfrm>
          <a:ln w="190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867" b="1">
                <a:solidFill>
                  <a:schemeClr val="accent2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1" y="2264027"/>
            <a:ext cx="475488" cy="475488"/>
          </a:xfrm>
          <a:ln w="190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867" b="1">
                <a:solidFill>
                  <a:schemeClr val="accent2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76251" y="3071399"/>
            <a:ext cx="475488" cy="475488"/>
          </a:xfrm>
          <a:ln w="190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867" b="1">
                <a:solidFill>
                  <a:schemeClr val="accent2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76251" y="3878771"/>
            <a:ext cx="475488" cy="475488"/>
          </a:xfrm>
          <a:ln w="190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867" b="1">
                <a:solidFill>
                  <a:schemeClr val="accent2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76251" y="4686143"/>
            <a:ext cx="475488" cy="475488"/>
          </a:xfrm>
          <a:ln w="190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867" b="1">
                <a:solidFill>
                  <a:schemeClr val="accent2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5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947963" y="2263477"/>
            <a:ext cx="5452837" cy="475488"/>
          </a:xfrm>
          <a:ln w="19050">
            <a:solidFill>
              <a:schemeClr val="bg2"/>
            </a:solidFill>
          </a:ln>
        </p:spPr>
        <p:txBody>
          <a:bodyPr lIns="108000" anchor="ctr"/>
          <a:lstStyle>
            <a:lvl1pPr marL="0" indent="0">
              <a:buNone/>
              <a:defRPr sz="1467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TWO title here</a:t>
            </a:r>
          </a:p>
        </p:txBody>
      </p:sp>
      <p:sp>
        <p:nvSpPr>
          <p:cNvPr id="36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947963" y="3070300"/>
            <a:ext cx="5452837" cy="475488"/>
          </a:xfrm>
          <a:ln w="19050">
            <a:solidFill>
              <a:schemeClr val="bg2"/>
            </a:solidFill>
          </a:ln>
        </p:spPr>
        <p:txBody>
          <a:bodyPr lIns="108000" anchor="ctr"/>
          <a:lstStyle>
            <a:lvl1pPr marL="0" indent="0">
              <a:buNone/>
              <a:defRPr sz="1467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THREE title here</a:t>
            </a:r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947963" y="3877123"/>
            <a:ext cx="5452837" cy="475488"/>
          </a:xfrm>
          <a:ln w="19050">
            <a:solidFill>
              <a:schemeClr val="bg2"/>
            </a:solidFill>
          </a:ln>
        </p:spPr>
        <p:txBody>
          <a:bodyPr lIns="108000" anchor="ctr"/>
          <a:lstStyle>
            <a:lvl1pPr marL="0" indent="0">
              <a:buNone/>
              <a:defRPr sz="1467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…</a:t>
            </a:r>
          </a:p>
        </p:txBody>
      </p:sp>
      <p:sp>
        <p:nvSpPr>
          <p:cNvPr id="3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947963" y="4683945"/>
            <a:ext cx="5452837" cy="475488"/>
          </a:xfrm>
          <a:ln w="19050">
            <a:solidFill>
              <a:schemeClr val="bg2"/>
            </a:solidFill>
          </a:ln>
        </p:spPr>
        <p:txBody>
          <a:bodyPr lIns="108000" anchor="ctr">
            <a:normAutofit/>
          </a:bodyPr>
          <a:lstStyle>
            <a:lvl1pPr marL="0" indent="0">
              <a:buNone/>
              <a:defRPr sz="1467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And delete</a:t>
            </a:r>
          </a:p>
        </p:txBody>
      </p:sp>
      <p:sp>
        <p:nvSpPr>
          <p:cNvPr id="39" name="Text Placehold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947963" y="5490769"/>
            <a:ext cx="5452837" cy="475488"/>
          </a:xfrm>
          <a:ln w="19050">
            <a:solidFill>
              <a:schemeClr val="bg2"/>
            </a:solidFill>
          </a:ln>
        </p:spPr>
        <p:txBody>
          <a:bodyPr lIns="108000" anchor="ctr">
            <a:normAutofit/>
          </a:bodyPr>
          <a:lstStyle>
            <a:lvl1pPr marL="0" indent="0">
              <a:buNone/>
              <a:defRPr sz="1467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The extras</a:t>
            </a:r>
          </a:p>
        </p:txBody>
      </p:sp>
    </p:spTree>
    <p:extLst>
      <p:ext uri="{BB962C8B-B14F-4D97-AF65-F5344CB8AC3E}">
        <p14:creationId xmlns:p14="http://schemas.microsoft.com/office/powerpoint/2010/main" val="779164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ll about my jo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4439341" y="0"/>
            <a:ext cx="7752659" cy="6858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1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Source Sans Pro Light" charset="0"/>
                <a:ea typeface="Source Sans Pro Light" charset="0"/>
                <a:cs typeface="Source Sans Pro Light" charset="0"/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797638936"/>
      </p:ext>
    </p:extLst>
  </p:cSld>
  <p:clrMapOvr>
    <a:masterClrMapping/>
  </p:clrMapOvr>
  <p:transition/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ale_Case 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80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 marL="0" indent="0" algn="ctr">
              <a:buNone/>
              <a:defRPr sz="21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3661827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780694" y="6537017"/>
            <a:ext cx="1962151" cy="243840"/>
          </a:xfrm>
          <a:prstGeom prst="rect">
            <a:avLst/>
          </a:prstGeom>
          <a:noFill/>
        </p:spPr>
        <p:txBody>
          <a:bodyPr wrap="square" lIns="68526" tIns="34289" rIns="68526" bIns="34289" rtlCol="0" anchor="ctr">
            <a:noAutofit/>
          </a:bodyPr>
          <a:lstStyle>
            <a:lvl1pPr>
              <a:defRPr lang="en-US" sz="1067" kern="0" spc="20" smtClean="0">
                <a:solidFill>
                  <a:schemeClr val="tx2"/>
                </a:solidFill>
                <a:cs typeface="Trebuchet MS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071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84">
          <p15:clr>
            <a:srgbClr val="FBAE40"/>
          </p15:clr>
        </p15:guide>
      </p15:sldGuideLst>
    </p:ext>
  </p:extLs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right light in the dark&#10;&#10;Description automatically generated with medium confidence">
            <a:extLst>
              <a:ext uri="{FF2B5EF4-FFF2-40B4-BE49-F238E27FC236}">
                <a16:creationId xmlns:a16="http://schemas.microsoft.com/office/drawing/2014/main" id="{292D94B7-0233-C940-0B7E-BB187340B7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48AADE-3723-5675-1E93-91E2083DA9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2020841-C9E1-4289-E94E-04CC0C8D6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E233166-418F-6386-079E-CEDA3BF98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C7376-20F0-E0B1-E7D5-414FC5DC35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27296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BD2E969-F100-6B32-8DFD-11A45E5E4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67B491-F517-CB8D-96B1-B02A50D723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30FF820-B532-1296-E817-DF961B67D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54D4BD-6E7A-841D-F70C-31FAEF56CD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634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0094E5E-6EFF-CE7E-D775-2FA95EEE2F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309027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E632B84-D810-D682-26F1-538579099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30902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6BD730-15BB-8DAE-B807-85A733E0F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531163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229A6F-36FA-05D5-E223-1581D31CE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977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3232558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37B4F039-C58D-468E-394C-C92CD517A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Content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BDF361-F375-D313-8D06-BDA2782784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BC6E842-5D88-CC5C-F1DA-808D61BEE7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D37A923-9C8E-6CA3-1F51-1680DBD253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B5EB1A-8556-A82E-AC69-301BA431D9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E3B50A-6363-7824-DFC1-3035609DF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3E6F179-1003-654A-7321-F8FE6D12AC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A7166E3-13D7-44C2-45BA-F8800FCD1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42EBD53-BF92-55A6-E85A-50AD5A80A5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1709A76-8AD3-E8A8-447B-E2C8D00A4A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A4DA4A4-AEAC-105E-34C0-12EBA35F10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6DD83F2-9BFD-E0B8-4706-D7200B45DE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D94FEEB-2EA8-081B-0B69-F0ED7A8348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2806611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19866F5-F57A-6C40-4D30-D67CB6A3D2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0EC5345-D2D0-6B03-7DDB-B62AB6432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B32F50E-D900-4FFA-87A8-502151FBE2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C6A4710-4089-A470-F3BF-FFBC173B71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D34983-77DA-7C68-275C-136A584C658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4F85B59-EAB5-65F8-6FA5-8D8D995CAA0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46160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49D503E-C57A-9E5B-19CF-94AF46BB63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BD3FFC-05D4-6AF7-0434-C1AC0298E5C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0952C60-604F-9F1A-9D20-17D094CE48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D164F81-CDD1-C1B4-ED55-A3321E1032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DF71D53-1D3F-D8F8-96D5-6DE13F1A9C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42F11AF-BF37-8BBB-B5E7-A8655CF947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595919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Agenda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04C027E-E5F6-C4D1-7BE4-B87D52F48E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696A0CB-1C78-8CBF-08C6-7CD08CF1D19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28107B5-87E9-D299-9F61-658CFC39E3B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72B4D0-A39C-FAF6-B1FC-E813800600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00A134C-93F9-0B06-D8F4-9B3C7532A4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37B92C4-122A-5377-7B74-D58A2319E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28A167B-CD8D-159B-58DB-AD9C0600F6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3238DD8-4A7D-554B-8216-37EA1F02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D58AB5-54CF-F584-79F8-821E69DF60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367AC01-84C2-7E8C-3BF8-201856803E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1A9C8-7F43-7DB1-4F91-53075745C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46C8629B-DFA8-41AA-9C67-96D3D02BED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1CC2B96-A6B1-5232-3AEE-F9B7FDBBC1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7A18B250-73F5-69E3-5878-B1D8C984F4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62FE180-ECE1-55D7-0248-053AC1E99B1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1279458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om_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19866F5-F57A-6C40-4D30-D67CB6A3D2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0EC5345-D2D0-6B03-7DDB-B62AB6432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B32F50E-D900-4FFA-87A8-502151FBE2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BA73176-A11D-D62A-EC12-39C3DF983B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ED43E1-5036-AF03-3AFC-AC404D716E48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4AFFE7B-BAB3-2BE6-68C7-82413494811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771282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5BDBBF2-452B-8A53-D3BC-946EEC403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CA620CE-1B8B-D388-B43E-902BAFDB8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B21D373-42F2-86AB-3F79-81C1BE3482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720EBE-A59D-52D5-044F-DF5C07F83D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F31129-9154-6101-E99F-40D9C428A70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7BD8E2-6131-A98D-36C8-080B716E4D6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90804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BEA6F8A-F8D2-0E03-127C-C4C39351E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86F72EA-0ABE-9A8E-4E77-930AA5496A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5E6E347-3D84-596D-2504-6BB7F34831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5684E56-61FE-0760-81FB-D738FF31CE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AFDEA9-4B5D-18D7-3B7C-ADC156E9EFC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818241-0582-A630-8CB0-7598682D85E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590983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8956E04-CBD7-E482-8975-949516BE3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DF04DE8-18FA-CC1C-A2E5-416F24CA08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BD1EAAB-FF14-59B6-EB7C-E327DBE47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3ED1D57-42C1-01EC-FDEC-8930A13F02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A158379-42B6-CCBC-ACEF-3055CDBB2D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C1715E-3786-F104-88AB-8B85E2F6D91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520479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CBC286D-0325-2652-6DE3-BC17B7921CDE}"/>
              </a:ext>
            </a:extLst>
          </p:cNvPr>
          <p:cNvSpPr txBox="1">
            <a:spLocks/>
          </p:cNvSpPr>
          <p:nvPr userDrawn="1"/>
        </p:nvSpPr>
        <p:spPr>
          <a:xfrm>
            <a:off x="481264" y="1667844"/>
            <a:ext cx="4403565" cy="101566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6000" b="1" i="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Disclaimer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5C60129C-ED73-46C0-0FB7-BB32CA2BD978}"/>
              </a:ext>
            </a:extLst>
          </p:cNvPr>
          <p:cNvSpPr txBox="1">
            <a:spLocks/>
          </p:cNvSpPr>
          <p:nvPr userDrawn="1"/>
        </p:nvSpPr>
        <p:spPr>
          <a:xfrm>
            <a:off x="481263" y="2919114"/>
            <a:ext cx="6664971" cy="10507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/>
                <a:cs typeface="Calibri Light"/>
              </a:rPr>
              <a:t>Do not share this presentation without a signed NDA.</a:t>
            </a:r>
            <a:endParaRPr lang="en-US" sz="2400">
              <a:solidFill>
                <a:schemeClr val="bg1"/>
              </a:solidFill>
              <a:latin typeface="Calibri Light"/>
              <a:cs typeface="Calibri Light"/>
            </a:endParaRPr>
          </a:p>
          <a:p>
            <a:pPr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/>
                <a:cs typeface="Calibri Light"/>
              </a:rPr>
              <a:t>Convert to PDF to protect sensitive slide notes.</a:t>
            </a:r>
            <a:endParaRPr lang="en-US" sz="240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464A0-B9BD-B9A5-38BA-45F5800B2D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64" y="872962"/>
            <a:ext cx="668294" cy="622205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C9E71BD3-C16B-E833-87BA-15C3037764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42082F-236C-033C-4BB1-ED91055E10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DDC278-1F97-461F-020F-97C4F17BCD4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931430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93E89BDD-DFE0-2F52-8234-B4BA719C24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29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AB1331E-AD8D-C6DD-2EB9-162F1E8744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8E73F41-F196-FE58-99BD-8AFA2B90986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CA775BE-E377-94D3-AEB3-0F6AC5EABBE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1296AC5-6772-5447-9F7F-930222E7DD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3" name="Title 8">
            <a:extLst>
              <a:ext uri="{FF2B5EF4-FFF2-40B4-BE49-F238E27FC236}">
                <a16:creationId xmlns:a16="http://schemas.microsoft.com/office/drawing/2014/main" id="{522FF93D-C8A6-33EF-5BC7-877E52BEE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A81627C-09AF-5EC8-CA35-DF312ECADD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896007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8E60C0F2-79B7-EE1B-6041-90317B3CB1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199D6FE-5F94-4710-8291-B343815879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3F08F0-0194-EA75-42BA-A0773D6D3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BCD999-82B2-EE7A-6B7F-62E9DF0FC3B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F60BC1F9-F5BB-BACB-98D9-6B1EA76689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21A2213A-A5D0-F62A-BDB3-8BB538A65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00BD8D1-BEE3-CC7B-18BC-B2C6739412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305728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7254E77-EA64-0D5B-1B56-09AF228EFA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41AD50E6-D58E-3D8C-41A0-48F21CC758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EC493A-D2B3-E243-2D3B-B6C3183A317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F48D13-7FE0-0CB2-89F9-E7AA85593DB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D221B2F-F01A-3D8B-58F3-2E0CD57769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5E154CAE-C4D8-C2A0-6BE8-461C3B8FA5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2DE92A-A744-9D66-5950-661ECF019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992676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5BDBBF2-452B-8A53-D3BC-946EEC403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CA620CE-1B8B-D388-B43E-902BAFDB8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B21D373-42F2-86AB-3F79-81C1BE3482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720EBE-A59D-52D5-044F-DF5C07F83D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F31129-9154-6101-E99F-40D9C428A70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7BD8E2-6131-A98D-36C8-080B716E4D6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310619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5381F3-7ADD-A798-2917-70C400E5FC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4668" y="2820541"/>
            <a:ext cx="4487332" cy="4037459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747460E-84D6-E4C7-66CE-0A88D0D3B7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4C926E2E-67D5-D03F-CAF1-D936DD3C0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0B9D3F-8FFD-EE49-3B30-05286E2EBB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659442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35273E55-8F47-AC18-08B7-C31C53E2A2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BBCDB36-A5F4-DF81-FE84-1CBB055082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3005339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36520FD8-AF16-A7D1-FBFD-C07B1B5276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751304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EA145C4-F1AE-010B-FC94-C27466A668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35649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164377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1896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1784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6254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B4284D-C7B7-AF33-505C-3BCE70543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CBF3641-43B5-6FAC-E7AA-3C2E1B6868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10205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2142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957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A4049EA-1C80-CEF2-C39E-9249C1D29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8682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D2FFF58-70EB-C86F-9E59-1581F18B87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FF9120F-E29C-8B3A-D5EB-E673F7B24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8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A6D870D-A9F4-488C-8ECB-5016711134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98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34281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-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7891C23-3EE8-0CED-28FE-170D18A2D615}"/>
              </a:ext>
            </a:extLst>
          </p:cNvPr>
          <p:cNvGrpSpPr/>
          <p:nvPr userDrawn="1"/>
        </p:nvGrpSpPr>
        <p:grpSpPr>
          <a:xfrm>
            <a:off x="3909694" y="-2"/>
            <a:ext cx="4653972" cy="6858002"/>
            <a:chOff x="3300840" y="-2"/>
            <a:chExt cx="4653972" cy="6858002"/>
          </a:xfrm>
          <a:solidFill>
            <a:schemeClr val="bg1">
              <a:lumMod val="95000"/>
            </a:schemeClr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4E5E53-9F1A-D61C-9EEB-E1510482E5BF}"/>
                </a:ext>
              </a:extLst>
            </p:cNvPr>
            <p:cNvSpPr/>
            <p:nvPr userDrawn="1"/>
          </p:nvSpPr>
          <p:spPr bwMode="auto">
            <a:xfrm>
              <a:off x="3300840" y="0"/>
              <a:ext cx="4110732" cy="68580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rtlCol="0" anchor="ctr"/>
            <a:lstStyle/>
            <a:p>
              <a:pPr algn="ctr"/>
              <a:endParaRPr lang="en-US" sz="2400" err="1">
                <a:solidFill>
                  <a:schemeClr val="bg1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endParaRPr>
            </a:p>
          </p:txBody>
        </p:sp>
        <p:sp>
          <p:nvSpPr>
            <p:cNvPr id="13" name="Isosceles Triangle 13">
              <a:extLst>
                <a:ext uri="{FF2B5EF4-FFF2-40B4-BE49-F238E27FC236}">
                  <a16:creationId xmlns:a16="http://schemas.microsoft.com/office/drawing/2014/main" id="{DF41968F-990C-67B1-0475-04E0249E281A}"/>
                </a:ext>
              </a:extLst>
            </p:cNvPr>
            <p:cNvSpPr/>
            <p:nvPr userDrawn="1"/>
          </p:nvSpPr>
          <p:spPr>
            <a:xfrm rot="5400000" flipH="1">
              <a:off x="4249415" y="3152602"/>
              <a:ext cx="6858002" cy="552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1" y="0"/>
            <a:ext cx="407670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936060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0E4AD9-5B60-F04F-FEE1-80647A0EA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189EAA6-8653-D9C5-4653-C4B7BB2BB3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03603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3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BEA6F8A-F8D2-0E03-127C-C4C39351E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86F72EA-0ABE-9A8E-4E77-930AA5496A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5E6E347-3D84-596D-2504-6BB7F34831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5684E56-61FE-0760-81FB-D738FF31CE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AFDEA9-4B5D-18D7-3B7C-ADC156E9EFC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818241-0582-A630-8CB0-7598682D85E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069293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5176317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0FD50C-06F7-21CC-1F6A-D75586A5063A}"/>
              </a:ext>
            </a:extLst>
          </p:cNvPr>
          <p:cNvSpPr/>
          <p:nvPr userDrawn="1"/>
        </p:nvSpPr>
        <p:spPr bwMode="auto">
          <a:xfrm>
            <a:off x="5166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6866651-9DE6-3C00-E38E-CCE80D6049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367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991B0C-C540-A449-1C7D-F3AE627558A1}"/>
              </a:ext>
            </a:extLst>
          </p:cNvPr>
          <p:cNvSpPr txBox="1"/>
          <p:nvPr userDrawn="1"/>
        </p:nvSpPr>
        <p:spPr>
          <a:xfrm>
            <a:off x="10054041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382AE5-9D01-6839-5979-7A3921E0574F}"/>
              </a:ext>
            </a:extLst>
          </p:cNvPr>
          <p:cNvSpPr txBox="1">
            <a:spLocks/>
          </p:cNvSpPr>
          <p:nvPr userDrawn="1"/>
        </p:nvSpPr>
        <p:spPr>
          <a:xfrm>
            <a:off x="11503260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64235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4162280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F441E88-7FE8-D22E-100F-B090659320A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FA5AB7F-48A8-2636-3278-4702BB8C57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B4A2EA-2922-26E5-D797-A05E70DB9B02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C8D5290-AB1A-98C0-647E-05F429722D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744895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302297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kern="800" cap="none" spc="13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302297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kern="800" cap="none" spc="13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4105881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6C5343-68AD-9879-2727-7ECBCB6A1B23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EF0FAA-381C-3A89-42AF-830EF59119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56236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24921F-F7DB-7A40-465F-85F610FC20C6}"/>
              </a:ext>
            </a:extLst>
          </p:cNvPr>
          <p:cNvSpPr txBox="1"/>
          <p:nvPr userDrawn="1"/>
        </p:nvSpPr>
        <p:spPr>
          <a:xfrm>
            <a:off x="10048875" y="6423925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F018D9-6B5F-8BCB-BD75-7816BF58C56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23926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690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0C5E2-D359-5FED-B284-19CF47A41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A60CDFE-3A94-5F3A-0523-ABA5607800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7052EF-2C83-09DE-9638-F3492217FF7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7612B5-8615-3AC0-8239-012312B6FD9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070923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2960BA-AA0C-9715-43A2-22B9050A4780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1783F67-AD13-06FC-C79E-DE6FBF4D05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F414E4-F961-7DD4-8CFB-7B93DD10B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2BE525B-A1C0-1DD5-E075-79F96E71ED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7A229-8E7F-A1E8-7492-218AEFB06B0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1751A4-BF09-09F2-77C6-42F2F2AEB24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76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985838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463925-928E-4FE1-B9E5-B83141A2C221}"/>
              </a:ext>
            </a:extLst>
          </p:cNvPr>
          <p:cNvSpPr/>
          <p:nvPr userDrawn="1"/>
        </p:nvSpPr>
        <p:spPr bwMode="auto">
          <a:xfrm>
            <a:off x="-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69AD5E-5F94-E6C0-0DB3-77E8A5A0D3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3DBF0C-CA25-003D-B5D8-6EE24C1F808C}"/>
              </a:ext>
            </a:extLst>
          </p:cNvPr>
          <p:cNvSpPr txBox="1"/>
          <p:nvPr userDrawn="1"/>
        </p:nvSpPr>
        <p:spPr>
          <a:xfrm>
            <a:off x="10048874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97B36E0-E687-34C7-ACB3-F681FF77C582}"/>
              </a:ext>
            </a:extLst>
          </p:cNvPr>
          <p:cNvSpPr txBox="1">
            <a:spLocks/>
          </p:cNvSpPr>
          <p:nvPr userDrawn="1"/>
        </p:nvSpPr>
        <p:spPr>
          <a:xfrm>
            <a:off x="11498093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068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4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8956E04-CBD7-E482-8975-949516BE3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DF04DE8-18FA-CC1C-A2E5-416F24CA08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BD1EAAB-FF14-59B6-EB7C-E327DBE47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3ED1D57-42C1-01EC-FDEC-8930A13F02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A158379-42B6-CCBC-ACEF-3055CDBB2D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C1715E-3786-F104-88AB-8B85E2F6D91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276287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341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D6310AE-15DA-337B-9B5E-33A904BF354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F314DE-C7E3-7237-4318-0407E44F5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5B1A98-E850-C3DE-38BF-EFAE0A2DC98C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E6FC5F8-7CE5-D29D-2CCA-C5715CDD43B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301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14749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69C4A8F-5B1E-7B0E-CAF7-B9F33D92C84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D6F42AB-F517-759C-A3C4-63443ED77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4E9D77-5CF8-5131-6018-48DF58117EC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34280A7-4796-759A-6B00-0444E865A6A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672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1993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54523F-EFD3-EDB0-4AF0-FB2421CCF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DB8D92B-BDD7-86B1-A31A-C3740736BA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33957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0096CA2-6B8E-1E0B-7446-BC5F37E73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0402405-4264-41C3-7E10-6A2AF1A461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4984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700771F-7FE8-2510-0C0E-734572A38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1513A24-C9FD-06A1-1015-D9656D68B8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47380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1C45522-9A1C-E9EB-4D96-B0CFFD2F7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250256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E6E8F6-4D6C-2884-0A7D-72BB39B21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2502567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07FC1-18DF-2355-0123-10BF2390C02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B024407-B901-7B1F-04F9-932983C670E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515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B7486B-35A7-A3FF-6F44-2159B1E9FAD3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82A7F25-3763-4002-A844-19432F96312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BC1AB0-2CF4-70A1-0BD7-A9A57D9F9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342021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B299D4E-38EF-AC64-7836-1AD1E87996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342021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8110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CBC286D-0325-2652-6DE3-BC17B7921CDE}"/>
              </a:ext>
            </a:extLst>
          </p:cNvPr>
          <p:cNvSpPr txBox="1">
            <a:spLocks/>
          </p:cNvSpPr>
          <p:nvPr userDrawn="1"/>
        </p:nvSpPr>
        <p:spPr>
          <a:xfrm>
            <a:off x="481264" y="1667844"/>
            <a:ext cx="4403565" cy="101566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6000" b="1" i="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Disclaimer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5C60129C-ED73-46C0-0FB7-BB32CA2BD978}"/>
              </a:ext>
            </a:extLst>
          </p:cNvPr>
          <p:cNvSpPr txBox="1">
            <a:spLocks/>
          </p:cNvSpPr>
          <p:nvPr userDrawn="1"/>
        </p:nvSpPr>
        <p:spPr>
          <a:xfrm>
            <a:off x="481264" y="2919114"/>
            <a:ext cx="6590096" cy="10507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/>
                <a:cs typeface="Calibri Light"/>
              </a:rPr>
              <a:t>Do not share this presentation without a signed NDA.</a:t>
            </a:r>
            <a:endParaRPr lang="en-US" sz="2400">
              <a:solidFill>
                <a:schemeClr val="bg1"/>
              </a:solidFill>
              <a:latin typeface="Calibri Light"/>
              <a:cs typeface="Calibri Light"/>
            </a:endParaRPr>
          </a:p>
          <a:p>
            <a:pPr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/>
                <a:cs typeface="Calibri Light"/>
              </a:rPr>
              <a:t>Convert to PDF to protect sensitive slide notes.</a:t>
            </a:r>
            <a:endParaRPr lang="en-US" sz="240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464A0-B9BD-B9A5-38BA-45F5800B2D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1264" y="872962"/>
            <a:ext cx="668294" cy="622205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C9E71BD3-C16B-E833-87BA-15C30377643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42082F-236C-033C-4BB1-ED91055E10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DDC278-1F97-461F-020F-97C4F17BCD4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78959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9FDF51-3B9F-C5D8-7A84-09B7B6CB9E8B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D3A15A-582D-3DDB-CC40-43726E84CA4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D8F2DF5-DE6F-E2FC-0057-63CC04174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4897430-924B-CB14-9A94-8DB20A76C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4815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5" y="0"/>
            <a:ext cx="2371722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E6AE37-FC1E-5269-1E83-C3E9928ED25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7A8488-5F43-686E-E10B-16D16E352E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7DE099-ACDF-D41B-FBC3-5EE9A76F4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7450138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F7055BE-CD0F-6E9E-5992-4C7B9EF5FA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3600000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93237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C6BA4E-CBCB-554D-CA98-146A521CFDF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B62B8-4926-8E23-51B4-D8AC31708BB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A808058-9E6F-F0D8-A385-7B4C54766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00513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3D95AB9-CE03-7AFD-DBBE-C67756B35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005137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82113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2F6686-8C0A-120D-0C06-1F8DA97E3C4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65D26-CB94-F414-6836-638151C91C4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166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02B5D-C175-DE3C-BEC7-EB4A41870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106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93C67F9-F2A6-3918-0A8D-555112C9F4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382446"/>
            <a:ext cx="2695074" cy="207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40869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8210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F219C23-5248-6A23-1656-7F24D37DB2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D0F7879-EF16-5C25-BC5F-DF85AD10BA3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7931746-EE72-E501-E583-1218E82991F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041871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67682568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3380221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663" y="1035424"/>
            <a:ext cx="464820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7200" b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4663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663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663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663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4663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4663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474663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422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Agenda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04C027E-E5F6-C4D1-7BE4-B87D52F48E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696A0CB-1C78-8CBF-08C6-7CD08CF1D19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28107B5-87E9-D299-9F61-658CFC39E3B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72B4D0-A39C-FAF6-B1FC-E813800600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00A134C-93F9-0B06-D8F4-9B3C7532A4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37B92C4-122A-5377-7B74-D58A2319E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28A167B-CD8D-159B-58DB-AD9C0600F6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3238DD8-4A7D-554B-8216-37EA1F02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D58AB5-54CF-F584-79F8-821E69DF60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367AC01-84C2-7E8C-3BF8-201856803E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1A9C8-7F43-7DB1-4F91-53075745C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46C8629B-DFA8-41AA-9C67-96D3D02BED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1CC2B96-A6B1-5232-3AEE-F9B7FDBBC1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7A18B250-73F5-69E3-5878-B1D8C984F4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62FE180-ECE1-55D7-0248-053AC1E99B1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39254113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93E89BDD-DFE0-2F52-8234-B4BA719C24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29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AB1331E-AD8D-C6DD-2EB9-162F1E8744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8E73F41-F196-FE58-99BD-8AFA2B90986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CA775BE-E377-94D3-AEB3-0F6AC5EABBE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BD34FF4-0682-7694-6FC2-5AD3FA129B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3" name="Title 8">
            <a:extLst>
              <a:ext uri="{FF2B5EF4-FFF2-40B4-BE49-F238E27FC236}">
                <a16:creationId xmlns:a16="http://schemas.microsoft.com/office/drawing/2014/main" id="{CE6E4E8B-E6ED-C43B-3BF1-BBA79D9D0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0A29352-E6C5-8FFD-9159-7756DE8839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720654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092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21FFBE-FD73-4914-B88C-A205297E29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FA7817-3B6C-3F4A-B7B9-1C24248B0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28292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5192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519275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400" spc="300" dirty="0">
                <a:solidFill>
                  <a:schemeClr val="bg2"/>
                </a:solidFill>
                <a:effectLst/>
              </a:defRPr>
            </a:lvl1pPr>
            <a:lvl2pPr>
              <a:buNone/>
              <a:defRPr/>
            </a:lvl2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April 2021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1AA8C38-4FF3-4F33-8B0F-196D0BC791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B842CEE-8A53-0D42-A72B-7D63B1ED3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26961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80079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1">
                    <a:lumMod val="95000"/>
                  </a:schemeClr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8C851A-E2E7-4523-9F42-0BB009E56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6769452-030B-5548-B575-999D639F6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563928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C8558E-5624-D848-B1A3-4B79F93D0AC1}"/>
              </a:ext>
            </a:extLst>
          </p:cNvPr>
          <p:cNvCxnSpPr>
            <a:cxnSpLocks/>
          </p:cNvCxnSpPr>
          <p:nvPr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381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40CC96-6026-B04A-A42D-A7A8F52BBA69}"/>
              </a:ext>
            </a:extLst>
          </p:cNvPr>
          <p:cNvCxnSpPr>
            <a:cxnSpLocks/>
          </p:cNvCxnSpPr>
          <p:nvPr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22106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DE24B927-3EC2-4323-B375-35AD1C731AD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2503D5-C016-4D7F-83A5-0A293996B8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74065B5-82CF-0942-A54C-2DA21F896678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481E60FF-59F4-A045-B79D-392594C3A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107DFBB-2291-EC41-BE16-FC9C5276EA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13EC089-F387-EA41-87D3-D7758396AE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C0E4EA0-AEC6-2040-9DC8-9823144C8D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19E3807-3E52-E344-BE1D-80D26E0087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B1D9E5D-6DB8-F543-AD52-933C5C991D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CAEE080-41A6-D445-8E6D-2AF68332C8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24A6FF9-0ADC-3D4D-B95A-23ED94770A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7202BF7-08E8-0642-B5BB-1D4E28A491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1DF2E15-278E-BB41-AB8F-A0A51FACFD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70D617C-6EF1-9847-9E19-F322FAC38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49568AB-E132-0347-B868-577B88807D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A277EC2-1880-A64A-8CD9-EAFCECD5EA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8C977B-490A-7A40-83B1-341231F1E4DA}"/>
              </a:ext>
            </a:extLst>
          </p:cNvPr>
          <p:cNvCxnSpPr>
            <a:cxnSpLocks/>
          </p:cNvCxnSpPr>
          <p:nvPr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46579F0-C0D7-394C-ABF4-CA5A1613E04C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6977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897BD5-071C-4070-AB48-99AEFB09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631569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ile lorem ipsum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39377C-A4AF-4B79-9CA5-600FF7C9AA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1E7284-C854-184C-A06D-CACC02F73E92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A1A574-71CC-6640-9BC0-9339C3ABCCC1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9202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C1C81F5-54D7-4540-9257-18BFF4009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C8D4D26-39BC-439E-9736-9CE3385DD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33501BA-291D-41ED-BCBD-8B23A9C86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D9AC8-F415-4F41-81BB-33EEA9AD7083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CAD51B5-4F0B-1246-8F71-7B2D95B954E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B932DC-E0AB-5041-A632-07A26B0EB2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38091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8E60C0F2-79B7-EE1B-6041-90317B3CB1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199D6FE-5F94-4710-8291-B34381587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3F08F0-0194-EA75-42BA-A0773D6D3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BCD999-82B2-EE7A-6B7F-62E9DF0FC3B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209E759-AFCF-0A3A-FAD7-82CB2B4AF9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E2348724-486E-611D-1CAC-7D5C22ADFE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C047C9D-3E73-DB1B-9E81-9B572EAD6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252633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9929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1395164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912147"/>
            <a:ext cx="1127455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398508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0385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56973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0482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1320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706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9" y="1143000"/>
            <a:ext cx="4797425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F520AD5-0FFD-4C8E-9342-58316930E0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1412" y="1143000"/>
            <a:ext cx="4797425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199" y="2077282"/>
            <a:ext cx="4797425" cy="28319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, at id non </a:t>
            </a:r>
            <a:r>
              <a:rPr lang="en-US" err="1"/>
              <a:t>enim</a:t>
            </a:r>
            <a:r>
              <a:rPr lang="en-US"/>
              <a:t>, </a:t>
            </a:r>
            <a:r>
              <a:rPr lang="en-US" err="1"/>
              <a:t>hac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vitae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Adipiscing</a:t>
            </a:r>
            <a:r>
              <a:rPr lang="en-US"/>
              <a:t> vestibulum, </a:t>
            </a:r>
            <a:r>
              <a:rPr lang="en-US" err="1"/>
              <a:t>natoque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id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Elementum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D1A126B-ECBC-446E-8C9B-41282A70F0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1412" y="2077282"/>
            <a:ext cx="4797425" cy="28319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, at id non </a:t>
            </a:r>
            <a:r>
              <a:rPr lang="en-US" err="1"/>
              <a:t>enim</a:t>
            </a:r>
            <a:r>
              <a:rPr lang="en-US"/>
              <a:t>, </a:t>
            </a:r>
            <a:r>
              <a:rPr lang="en-US" err="1"/>
              <a:t>hac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vitae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Adipiscing</a:t>
            </a:r>
            <a:r>
              <a:rPr lang="en-US"/>
              <a:t> vestibulum, </a:t>
            </a:r>
            <a:r>
              <a:rPr lang="en-US" err="1"/>
              <a:t>natoque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id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Elementum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497824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0323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7254E77-EA64-0D5B-1B56-09AF228EFA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41AD50E6-D58E-3D8C-41A0-48F21CC75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EC493A-D2B3-E243-2D3B-B6C3183A317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F48D13-7FE0-0CB2-89F9-E7AA85593DB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275C009-3000-2628-2F24-C12D282E0B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2" name="Title 8">
            <a:extLst>
              <a:ext uri="{FF2B5EF4-FFF2-40B4-BE49-F238E27FC236}">
                <a16:creationId xmlns:a16="http://schemas.microsoft.com/office/drawing/2014/main" id="{F98E87A9-E4C8-39F9-14FF-4CBFDCC76D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B486E3C-F2E8-707C-4340-3347934F7E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78255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6D646D-415F-4D4E-B837-24C4E1CE09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371600"/>
            <a:ext cx="5764213" cy="3886200"/>
          </a:xfrm>
          <a:prstGeom prst="rect">
            <a:avLst/>
          </a:prstGeom>
        </p:spPr>
        <p:txBody>
          <a:bodyPr/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arge statement combined with supporting </a:t>
            </a:r>
            <a:br>
              <a:rPr lang="en-US"/>
            </a:br>
            <a:r>
              <a:rPr lang="en-US"/>
              <a:t>text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330B547-343B-414C-8E1F-67C7C72B2F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6901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</p:spTree>
    <p:extLst>
      <p:ext uri="{BB962C8B-B14F-4D97-AF65-F5344CB8AC3E}">
        <p14:creationId xmlns:p14="http://schemas.microsoft.com/office/powerpoint/2010/main" val="123588727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4268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4955F73-BCD8-4858-BDA2-D30A6DDD9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568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DB3700-A2AA-CC46-AB06-739575CE1198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8F2DB0F-A762-9841-A4D7-8B6F3D5251E5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964562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9EA3FB-C095-0948-83CD-4F812F3CA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4284269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55673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0732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69900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3B5AFB-E799-0442-BA28-6AF5A02967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907266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924339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401293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73573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/>
        </p:nvSpPr>
        <p:spPr bwMode="auto">
          <a:xfrm flipH="1"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300D359-43E3-7747-A509-348C3E3004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6158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02C5AA0-D8CE-634A-97A8-97B2BC7150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78547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5381F3-7ADD-A798-2917-70C400E5FC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4668" y="2820541"/>
            <a:ext cx="4487332" cy="4037459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8FA0FBC-7902-FB57-B0E6-208B4D92A2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BDAC9276-D926-A8F0-F30E-947BAF94E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CD8B5C-46E7-BD57-CCD4-C92180A94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289614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69652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/>
        </p:nvSpPr>
        <p:spPr bwMode="auto">
          <a:xfrm>
            <a:off x="0" y="0"/>
            <a:ext cx="31083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867749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946867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184C37-FA49-E94C-B478-B1492E6E7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19511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C76E4-4D68-894E-AF17-C8188D17CE71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4E5246D-43F4-5946-BF12-EAA7EF1F6B9B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37499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70CA8-AE5E-9144-B51A-3DB9B2B912F8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2E37B5-D917-F347-A92A-FFF42F041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B879C7-3885-2143-A73F-46BF2685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C884B43-5420-8A44-BD3B-D88B17EDD055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359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7175341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03936-AD1E-BD44-91CB-919F81D7BFEC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D1BED4F-175D-FF44-A003-4A5C8D212304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90E848-D90D-3040-B1C3-7D33F1A7A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EAA2BB-1929-1344-BB72-B8696E5C9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C52A15-EBCB-2E4D-B9B0-C28E4B5B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753753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4CC298-22F4-2C44-B143-5C071C1464AE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4434E4-9DFC-C54A-8FA5-A3977779F6DB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4918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279605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35273E55-8F47-AC18-08B7-C31C53E2A2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2DBFF427-2D6E-0346-0826-E276A62B2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6" name="Title 8">
            <a:extLst>
              <a:ext uri="{FF2B5EF4-FFF2-40B4-BE49-F238E27FC236}">
                <a16:creationId xmlns:a16="http://schemas.microsoft.com/office/drawing/2014/main" id="{26C1F3B8-3C55-4406-FAC7-2A120C2F1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5CF7A0F-2660-E893-CFD8-EEC2B9633B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68280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3520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15E796-86B4-4C38-A923-10DBDCC4B9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3" y="6469379"/>
            <a:ext cx="1382049" cy="9144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432762-A502-4EDF-9936-2F1B5B291C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3F49D1-094C-794E-ADD9-2E27004213E7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B996F9F-D55F-FD42-A589-2783B304344D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mtClean="0">
                <a:solidFill>
                  <a:schemeClr val="tx1"/>
                </a:solidFill>
              </a:rPr>
              <a:pPr lvl="0"/>
              <a:t>‹#›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490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">
    <p:bg>
      <p:bgPr>
        <a:solidFill>
          <a:srgbClr val="ABDB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33506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1FB1-EED5-E148-9A93-A29EB92D1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6397" y="1220724"/>
            <a:ext cx="7892478" cy="2712730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50000"/>
              </a:lnSpc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61F754-B893-AE42-8D75-BA81D1A9A8FF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D9E730-867D-BF4D-8996-7605F868D97E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D6E288-882B-514C-B335-273A187E20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grpSp>
        <p:nvGrpSpPr>
          <p:cNvPr id="8" name="Graphic 4">
            <a:extLst>
              <a:ext uri="{FF2B5EF4-FFF2-40B4-BE49-F238E27FC236}">
                <a16:creationId xmlns:a16="http://schemas.microsoft.com/office/drawing/2014/main" id="{823A4988-0868-304B-AD24-7AFF2D3D342A}"/>
              </a:ext>
            </a:extLst>
          </p:cNvPr>
          <p:cNvGrpSpPr/>
          <p:nvPr/>
        </p:nvGrpSpPr>
        <p:grpSpPr>
          <a:xfrm>
            <a:off x="494098" y="2286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DBA4B6-758F-E547-A4C5-72E7C40C04B9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7A9479-37D0-E448-A740-1DFA8790CA9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981FF5D2-40D7-B048-B33B-B448FA5F16F4}"/>
              </a:ext>
            </a:extLst>
          </p:cNvPr>
          <p:cNvGrpSpPr/>
          <p:nvPr/>
        </p:nvGrpSpPr>
        <p:grpSpPr>
          <a:xfrm rot="10800000">
            <a:off x="10425627" y="52197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5EF95A2-728D-A049-91DE-CDD3C11B4CB1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41BF97-F3E8-2C41-8D83-077454953A5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B4BAB6-FAAD-BA41-8450-398BD1279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6808" y="4620894"/>
            <a:ext cx="2822067" cy="257250"/>
          </a:xfrm>
        </p:spPr>
        <p:txBody>
          <a:bodyPr>
            <a:spAutoFit/>
          </a:bodyPr>
          <a:lstStyle>
            <a:lvl1pPr algn="r"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3873641"/>
      </p:ext>
    </p:extLst>
  </p:cSld>
  <p:clrMapOvr>
    <a:masterClrMapping/>
  </p:clrMapOvr>
  <p:hf hdr="0" ftr="0" dt="0"/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ase Descrip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74046861-98EF-8743-9C12-267EC1D8E7B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57200" y="2730381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A666C02-EA3A-C441-B424-21DB595FE3C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57200" y="4238918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</p:spTree>
    <p:extLst>
      <p:ext uri="{BB962C8B-B14F-4D97-AF65-F5344CB8AC3E}">
        <p14:creationId xmlns:p14="http://schemas.microsoft.com/office/powerpoint/2010/main" val="157108934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12167187"/>
      </p:ext>
    </p:extLst>
  </p:cSld>
  <p:clrMapOvr>
    <a:masterClrMapping/>
  </p:clrMapOvr>
  <p:hf hdr="0" ftr="0" dt="0"/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3084352446"/>
      </p:ext>
    </p:extLst>
  </p:cSld>
  <p:clrMapOvr>
    <a:masterClrMapping/>
  </p:clrMapOvr>
  <p:hf hdr="0" ftr="0" dt="0"/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875002"/>
            <a:ext cx="5530850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07338" y="2286000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07338" y="2746674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07338" y="3039391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07338" y="366107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07338" y="394800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7338" y="4572000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4B6A1A-ED6A-490A-AA56-15684042F07D}"/>
              </a:ext>
            </a:extLst>
          </p:cNvPr>
          <p:cNvCxnSpPr/>
          <p:nvPr/>
        </p:nvCxnSpPr>
        <p:spPr>
          <a:xfrm>
            <a:off x="6946900" y="2286000"/>
            <a:ext cx="0" cy="3534697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3969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181100"/>
            <a:ext cx="4426771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63" y="2717434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4663" y="3178108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4663" y="3470825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663" y="409250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663" y="437943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663" y="5003434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26DCF78-A14C-7743-94BB-7E13C2AD86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896144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right light in the dark&#10;&#10;Description automatically generated with medium confidence">
            <a:extLst>
              <a:ext uri="{FF2B5EF4-FFF2-40B4-BE49-F238E27FC236}">
                <a16:creationId xmlns:a16="http://schemas.microsoft.com/office/drawing/2014/main" id="{292D94B7-0233-C940-0B7E-BB187340B7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45" b="739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48AADE-3723-5675-1E93-91E2083DA9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2020841-C9E1-4289-E94E-04CC0C8D6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E233166-418F-6386-079E-CEDA3BF98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AC7376-20F0-E0B1-E7D5-414FC5DC35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0647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1896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6334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BD2E969-F100-6B32-8DFD-11A45E5E43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67B491-F517-CB8D-96B1-B02A50D723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30FF820-B532-1296-E817-DF961B67D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7843822" cy="246221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54D4BD-6E7A-841D-F70C-31FAEF56CD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210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0094E5E-6EFF-CE7E-D775-2FA95EEE2F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309027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E632B84-D810-D682-26F1-538579099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30902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200" b="1" spc="400" baseline="0" dirty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JANUARY 2023</a:t>
            </a:r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6BD730-15BB-8DAE-B807-85A733E0F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696496"/>
            <a:ext cx="531163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229A6F-36FA-05D5-E223-1581D31CE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414" y="740715"/>
            <a:ext cx="1226857" cy="45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13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4208175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37B4F039-C58D-468E-394C-C92CD517A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Content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BDF361-F375-D313-8D06-BDA2782784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4216" y="152141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BC6E842-5D88-CC5C-F1DA-808D61BEE7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4216" y="22144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D37A923-9C8E-6CA3-1F51-1680DBD253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4216" y="289739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B5EB1A-8556-A82E-AC69-301BA431D9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4216" y="3590458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E3B50A-6363-7824-DFC1-3035609DF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216" y="4273364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3E6F179-1003-654A-7321-F8FE6D12AC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4216" y="4956271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A7166E3-13D7-44C2-45BA-F8800FCD1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6507" y="152141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42EBD53-BF92-55A6-E85A-50AD5A80A5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6507" y="22144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1709A76-8AD3-E8A8-447B-E2C8D00A4A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56507" y="289739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A4DA4A4-AEAC-105E-34C0-12EBA35F10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6507" y="359045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6DD83F2-9BFD-E0B8-4706-D7200B45DE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507" y="4273364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D94FEEB-2EA8-081B-0B69-F0ED7A8348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56507" y="495627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3362214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749D503E-C57A-9E5B-19CF-94AF46BB63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BD3FFC-05D4-6AF7-0434-C1AC0298E5C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0952C60-604F-9F1A-9D20-17D094CE48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D164F81-CDD1-C1B4-ED55-A3321E1032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DF71D53-1D3F-D8F8-96D5-6DE13F1A9C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42F11AF-BF37-8BBB-B5E7-A8655CF947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65356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i="0" kern="1200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Agenda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04C027E-E5F6-C4D1-7BE4-B87D52F48E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696A0CB-1C78-8CBF-08C6-7CD08CF1D19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28107B5-87E9-D299-9F61-658CFC39E3B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72B4D0-A39C-FAF6-B1FC-E813800600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0496" y="1541587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00A134C-93F9-0B06-D8F4-9B3C7532A4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0496" y="223184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37B92C4-122A-5377-7B74-D58A2319E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30496" y="2922103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28A167B-CD8D-159B-58DB-AD9C0600F6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496" y="3612361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3238DD8-4A7D-554B-8216-37EA1F02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30496" y="430261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D58AB5-54CF-F584-79F8-821E69DF60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0496" y="4992878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367AC01-84C2-7E8C-3BF8-201856803E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01160" y="154158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0B1A9C8-7F43-7DB1-4F91-53075745C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1160" y="2234115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46C8629B-DFA8-41AA-9C67-96D3D02BED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01160" y="2923806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1CC2B96-A6B1-5232-3AEE-F9B7FDBBC1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01160" y="3613497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7A18B250-73F5-69E3-5878-B1D8C984F4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01160" y="430318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62FE180-ECE1-55D7-0248-053AC1E99B1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1160" y="4992878"/>
            <a:ext cx="1679576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</p:spTree>
    <p:extLst>
      <p:ext uri="{BB962C8B-B14F-4D97-AF65-F5344CB8AC3E}">
        <p14:creationId xmlns:p14="http://schemas.microsoft.com/office/powerpoint/2010/main" val="197372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1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19866F5-F57A-6C40-4D30-D67CB6A3D2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0EC5345-D2D0-6B03-7DDB-B62AB6432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B32F50E-D900-4FFA-87A8-502151FBE2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BA73176-A11D-D62A-EC12-39C3DF983B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ED43E1-5036-AF03-3AFC-AC404D716E48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4AFFE7B-BAB3-2BE6-68C7-82413494811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682942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19866F5-F57A-6C40-4D30-D67CB6A3D2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0EC5345-D2D0-6B03-7DDB-B62AB6432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B32F50E-D900-4FFA-87A8-502151FBE2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C6A4710-4089-A470-F3BF-FFBC173B71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CD34983-77DA-7C68-275C-136A584C658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4F85B59-EAB5-65F8-6FA5-8D8D995CAA0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128053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2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5BDBBF2-452B-8A53-D3BC-946EEC403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CA620CE-1B8B-D388-B43E-902BAFDB8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B21D373-42F2-86AB-3F79-81C1BE3482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720EBE-A59D-52D5-044F-DF5C07F83D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F31129-9154-6101-E99F-40D9C428A70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7BD8E2-6131-A98D-36C8-080B716E4D6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161355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3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BEA6F8A-F8D2-0E03-127C-C4C39351E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86F72EA-0ABE-9A8E-4E77-930AA5496A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5E6E347-3D84-596D-2504-6BB7F34831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5684E56-61FE-0760-81FB-D738FF31CE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AFDEA9-4B5D-18D7-3B7C-ADC156E9EFC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818241-0582-A630-8CB0-7598682D85E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8237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671709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4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8956E04-CBD7-E482-8975-949516BE3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DF04DE8-18FA-CC1C-A2E5-416F24CA08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BD1EAAB-FF14-59B6-EB7C-E327DBE47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3ED1D57-42C1-01EC-FDEC-8930A13F02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A158379-42B6-CCBC-ACEF-3055CDBB2D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C1715E-3786-F104-88AB-8B85E2F6D91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190893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9E71BD3-C16B-E833-87BA-15C3037764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42082F-236C-033C-4BB1-ED91055E10D6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DDC278-1F97-461F-020F-97C4F17BCD4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50D7D070-E790-5695-131C-D05BCE1DF646}"/>
              </a:ext>
            </a:extLst>
          </p:cNvPr>
          <p:cNvSpPr txBox="1">
            <a:spLocks/>
          </p:cNvSpPr>
          <p:nvPr userDrawn="1"/>
        </p:nvSpPr>
        <p:spPr>
          <a:xfrm>
            <a:off x="481264" y="1667844"/>
            <a:ext cx="4403565" cy="101566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6000" b="1" i="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Disclaimer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046710E1-81E9-EBE8-0859-CF2CE78EDB8C}"/>
              </a:ext>
            </a:extLst>
          </p:cNvPr>
          <p:cNvSpPr txBox="1">
            <a:spLocks/>
          </p:cNvSpPr>
          <p:nvPr userDrawn="1"/>
        </p:nvSpPr>
        <p:spPr>
          <a:xfrm>
            <a:off x="481263" y="2919114"/>
            <a:ext cx="6664971" cy="10507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/>
                <a:cs typeface="Calibri Light"/>
              </a:rPr>
              <a:t>Do not share this presentation without a signed NDA.</a:t>
            </a:r>
            <a:endParaRPr lang="en-US" sz="2400">
              <a:solidFill>
                <a:schemeClr val="bg1"/>
              </a:solidFill>
              <a:latin typeface="Calibri Light"/>
              <a:cs typeface="Calibri Light"/>
            </a:endParaRPr>
          </a:p>
          <a:p>
            <a:pPr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/>
                <a:cs typeface="Calibri Light"/>
              </a:rPr>
              <a:t>Convert to PDF to protect sensitive slide notes.</a:t>
            </a:r>
            <a:endParaRPr lang="en-US" sz="240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E535476-A14B-9C4F-F1D5-3BA99072827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64" y="872962"/>
            <a:ext cx="668294" cy="622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545655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93E89BDD-DFE0-2F52-8234-B4BA719C24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4529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AB1331E-AD8D-C6DD-2EB9-162F1E8744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8E73F41-F196-FE58-99BD-8AFA2B909861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CA775BE-E377-94D3-AEB3-0F6AC5EABBE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1296AC5-6772-5447-9F7F-930222E7DD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3" name="Title 8">
            <a:extLst>
              <a:ext uri="{FF2B5EF4-FFF2-40B4-BE49-F238E27FC236}">
                <a16:creationId xmlns:a16="http://schemas.microsoft.com/office/drawing/2014/main" id="{522FF93D-C8A6-33EF-5BC7-877E52BEE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A81627C-09AF-5EC8-CA35-DF312ECADD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79665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8E60C0F2-79B7-EE1B-6041-90317B3CB1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199D6FE-5F94-4710-8291-B34381587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3F08F0-0194-EA75-42BA-A0773D6D3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BCD999-82B2-EE7A-6B7F-62E9DF0FC3B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209E759-AFCF-0A3A-FAD7-82CB2B4AF9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E2348724-486E-611D-1CAC-7D5C22ADFE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C047C9D-3E73-DB1B-9E81-9B572EAD6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006965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7254E77-EA64-0D5B-1B56-09AF228EFA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" y="-1"/>
            <a:ext cx="12172950" cy="68687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41AD50E6-D58E-3D8C-41A0-48F21CC75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EC493A-D2B3-E243-2D3B-B6C3183A317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F48D13-7FE0-0CB2-89F9-E7AA85593DB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275C009-3000-2628-2F24-C12D282E0B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12" name="Title 8">
            <a:extLst>
              <a:ext uri="{FF2B5EF4-FFF2-40B4-BE49-F238E27FC236}">
                <a16:creationId xmlns:a16="http://schemas.microsoft.com/office/drawing/2014/main" id="{F98E87A9-E4C8-39F9-14FF-4CBFDCC76D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B486E3C-F2E8-707C-4340-3347934F7E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967976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5381F3-7ADD-A798-2917-70C400E5FC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4668" y="2820541"/>
            <a:ext cx="4487332" cy="4037459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8FA0FBC-7902-FB57-B0E6-208B4D92A2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BDAC9276-D926-A8F0-F30E-947BAF94E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CCD8B5C-46E7-BD57-CCD4-C92180A94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389386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35273E55-8F47-AC18-08B7-C31C53E2A2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ECD9392-FD78-BAFC-F25C-F397815B41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8C8D2A9-E7E5-3BDF-6F80-BF5E11614C79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562172F-E23C-EEAE-BC22-38510E2D106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4293F859-AF8E-3E9A-4445-9FA83FD40B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77" y="2836892"/>
            <a:ext cx="8686800" cy="26920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>
                <a:effectLst/>
              </a:rPr>
              <a:t>Section description</a:t>
            </a:r>
            <a:endParaRPr lang="en-US"/>
          </a:p>
        </p:txBody>
      </p:sp>
      <p:sp>
        <p:nvSpPr>
          <p:cNvPr id="6" name="Title 8">
            <a:extLst>
              <a:ext uri="{FF2B5EF4-FFF2-40B4-BE49-F238E27FC236}">
                <a16:creationId xmlns:a16="http://schemas.microsoft.com/office/drawing/2014/main" id="{EA00CC3C-96DD-469D-EB60-E1887E86A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77" y="1582857"/>
            <a:ext cx="9601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b="1" spc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effectLst/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9EC079A-EE35-180B-C83F-37F1AA8B30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77" y="118805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25266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1896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8117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82366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B4284D-C7B7-AF33-505C-3BCE70543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CBF3641-43B5-6FAC-E7AA-3C2E1B6868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33869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B4284D-C7B7-AF33-505C-3BCE70543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CBF3641-43B5-6FAC-E7AA-3C2E1B6868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46540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700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469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A4049EA-1C80-CEF2-C39E-9249C1D29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0631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D2FFF58-70EB-C86F-9E59-1581F18B87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FF9120F-E29C-8B3A-D5EB-E673F7B24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8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A6D870D-A9F4-488C-8ECB-5016711134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98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9314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-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7891C23-3EE8-0CED-28FE-170D18A2D615}"/>
              </a:ext>
            </a:extLst>
          </p:cNvPr>
          <p:cNvGrpSpPr/>
          <p:nvPr userDrawn="1"/>
        </p:nvGrpSpPr>
        <p:grpSpPr>
          <a:xfrm>
            <a:off x="3909694" y="-2"/>
            <a:ext cx="4653972" cy="6858002"/>
            <a:chOff x="3300840" y="-2"/>
            <a:chExt cx="4653972" cy="6858002"/>
          </a:xfrm>
          <a:solidFill>
            <a:schemeClr val="bg1">
              <a:lumMod val="95000"/>
            </a:schemeClr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4E5E53-9F1A-D61C-9EEB-E1510482E5BF}"/>
                </a:ext>
              </a:extLst>
            </p:cNvPr>
            <p:cNvSpPr/>
            <p:nvPr userDrawn="1"/>
          </p:nvSpPr>
          <p:spPr bwMode="auto">
            <a:xfrm>
              <a:off x="3300840" y="0"/>
              <a:ext cx="4110732" cy="68580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rtlCol="0" anchor="ctr"/>
            <a:lstStyle/>
            <a:p>
              <a:pPr algn="ctr"/>
              <a:endParaRPr lang="en-US" sz="2400" err="1">
                <a:solidFill>
                  <a:schemeClr val="bg1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endParaRPr>
            </a:p>
          </p:txBody>
        </p:sp>
        <p:sp>
          <p:nvSpPr>
            <p:cNvPr id="13" name="Isosceles Triangle 13">
              <a:extLst>
                <a:ext uri="{FF2B5EF4-FFF2-40B4-BE49-F238E27FC236}">
                  <a16:creationId xmlns:a16="http://schemas.microsoft.com/office/drawing/2014/main" id="{DF41968F-990C-67B1-0475-04E0249E281A}"/>
                </a:ext>
              </a:extLst>
            </p:cNvPr>
            <p:cNvSpPr/>
            <p:nvPr userDrawn="1"/>
          </p:nvSpPr>
          <p:spPr>
            <a:xfrm rot="5400000" flipH="1">
              <a:off x="4249415" y="3152602"/>
              <a:ext cx="6858002" cy="552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1" y="0"/>
            <a:ext cx="407670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936060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0E4AD9-5B60-F04F-FEE1-80647A0EA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189EAA6-8653-D9C5-4653-C4B7BB2BB3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542528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031460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0FD50C-06F7-21CC-1F6A-D75586A5063A}"/>
              </a:ext>
            </a:extLst>
          </p:cNvPr>
          <p:cNvSpPr/>
          <p:nvPr userDrawn="1"/>
        </p:nvSpPr>
        <p:spPr bwMode="auto">
          <a:xfrm>
            <a:off x="5166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6866651-9DE6-3C00-E38E-CCE80D6049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367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991B0C-C540-A449-1C7D-F3AE627558A1}"/>
              </a:ext>
            </a:extLst>
          </p:cNvPr>
          <p:cNvSpPr txBox="1"/>
          <p:nvPr userDrawn="1"/>
        </p:nvSpPr>
        <p:spPr>
          <a:xfrm>
            <a:off x="10054041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382AE5-9D01-6839-5979-7A3921E0574F}"/>
              </a:ext>
            </a:extLst>
          </p:cNvPr>
          <p:cNvSpPr txBox="1">
            <a:spLocks/>
          </p:cNvSpPr>
          <p:nvPr userDrawn="1"/>
        </p:nvSpPr>
        <p:spPr>
          <a:xfrm>
            <a:off x="11503260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263349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449313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F441E88-7FE8-D22E-100F-B090659320A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FA5AB7F-48A8-2636-3278-4702BB8C5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B4A2EA-2922-26E5-D797-A05E70DB9B02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C8D5290-AB1A-98C0-647E-05F429722D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031511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891760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8020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6C5343-68AD-9879-2727-7ECBCB6A1B23}"/>
              </a:ext>
            </a:extLst>
          </p:cNvPr>
          <p:cNvSpPr/>
          <p:nvPr userDrawn="1"/>
        </p:nvSpPr>
        <p:spPr bwMode="auto">
          <a:xfrm>
            <a:off x="0" y="17335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EF0FAA-381C-3A89-42AF-830EF5911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56236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24921F-F7DB-7A40-465F-85F610FC20C6}"/>
              </a:ext>
            </a:extLst>
          </p:cNvPr>
          <p:cNvSpPr txBox="1"/>
          <p:nvPr userDrawn="1"/>
        </p:nvSpPr>
        <p:spPr>
          <a:xfrm>
            <a:off x="10048875" y="6423925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F018D9-6B5F-8BCB-BD75-7816BF58C56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23926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31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0C5E2-D359-5FED-B284-19CF47A41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A60CDFE-3A94-5F3A-0523-ABA5607800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7052EF-2C83-09DE-9638-F3492217FF7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7612B5-8615-3AC0-8239-012312B6FD9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226703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2960BA-AA0C-9715-43A2-22B9050A4780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1783F67-AD13-06FC-C79E-DE6FBF4D05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F414E4-F961-7DD4-8CFB-7B93DD10B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2BE525B-A1C0-1DD5-E075-79F96E71ED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7A229-8E7F-A1E8-7492-218AEFB06B0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1751A4-BF09-09F2-77C6-42F2F2AEB24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94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250635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463925-928E-4FE1-B9E5-B83141A2C221}"/>
              </a:ext>
            </a:extLst>
          </p:cNvPr>
          <p:cNvSpPr/>
          <p:nvPr userDrawn="1"/>
        </p:nvSpPr>
        <p:spPr bwMode="auto">
          <a:xfrm>
            <a:off x="-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69AD5E-5F94-E6C0-0DB3-77E8A5A0D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3DBF0C-CA25-003D-B5D8-6EE24C1F808C}"/>
              </a:ext>
            </a:extLst>
          </p:cNvPr>
          <p:cNvSpPr txBox="1"/>
          <p:nvPr userDrawn="1"/>
        </p:nvSpPr>
        <p:spPr>
          <a:xfrm>
            <a:off x="10048874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97B36E0-E687-34C7-ACB3-F681FF77C582}"/>
              </a:ext>
            </a:extLst>
          </p:cNvPr>
          <p:cNvSpPr txBox="1">
            <a:spLocks/>
          </p:cNvSpPr>
          <p:nvPr userDrawn="1"/>
        </p:nvSpPr>
        <p:spPr>
          <a:xfrm>
            <a:off x="11498093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606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443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D6310AE-15DA-337B-9B5E-33A904BF354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F314DE-C7E3-7237-4318-0407E44F5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5B1A98-E850-C3DE-38BF-EFAE0A2DC98C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E6FC5F8-7CE5-D29D-2CCA-C5715CDD43B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916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16786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69C4A8F-5B1E-7B0E-CAF7-B9F33D92C84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D6F42AB-F517-759C-A3C4-63443ED771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4E9D77-5CF8-5131-6018-48DF58117EC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34280A7-4796-759A-6B00-0444E865A6A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186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667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56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54523F-EFD3-EDB0-4AF0-FB2421CCF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DB8D92B-BDD7-86B1-A31A-C3740736BA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47601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0096CA2-6B8E-1E0B-7446-BC5F37E73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0402405-4264-41C3-7E10-6A2AF1A461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68906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700771F-7FE8-2510-0C0E-734572A38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1513A24-C9FD-06A1-1015-D9656D68B8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944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1C45522-9A1C-E9EB-4D96-B0CFFD2F7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250256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E6E8F6-4D6C-2884-0A7D-72BB39B21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2502567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07FC1-18DF-2355-0123-10BF2390C02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B024407-B901-7B1F-04F9-932983C670E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689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B7486B-35A7-A3FF-6F44-2159B1E9FAD3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82A7F25-3763-4002-A844-19432F96312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BC1AB0-2CF4-70A1-0BD7-A9A57D9F9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342021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B299D4E-38EF-AC64-7836-1AD1E87996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342021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83972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9FDF51-3B9F-C5D8-7A84-09B7B6CB9E8B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D3A15A-582D-3DDB-CC40-43726E84CA4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D8F2DF5-DE6F-E2FC-0057-63CC04174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764213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4897430-924B-CB14-9A94-8DB20A76C7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764213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05040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5" y="0"/>
            <a:ext cx="2371722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E6AE37-FC1E-5269-1E83-C3E9928ED25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7A8488-5F43-686E-E10B-16D16E352E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7DE099-ACDF-D41B-FBC3-5EE9A76F4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7450138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F7055BE-CD0F-6E9E-5992-4C7B9EF5FA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3600000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85308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C6BA4E-CBCB-554D-CA98-146A521CFDF4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B62B8-4926-8E23-51B4-D8AC31708BB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A808058-9E6F-F0D8-A385-7B4C54766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00513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3D95AB9-CE03-7AFD-DBBE-C67756B35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5005137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4517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2F6686-8C0A-120D-0C06-1F8DA97E3C4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65D26-CB94-F414-6836-638151C91C4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5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921251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543216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389801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E02B5D-C175-DE3C-BEC7-EB4A41870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106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93C67F9-F2A6-3918-0A8D-555112C9F4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382446"/>
            <a:ext cx="2695074" cy="207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79543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om_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19866F5-F57A-6C40-4D30-D67CB6A3D2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000" b="1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0EC5345-D2D0-6B03-7DDB-B62AB6432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B32F50E-D900-4FFA-87A8-502151FBE2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BA73176-A11D-D62A-EC12-39C3DF983B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ED43E1-5036-AF03-3AFC-AC404D716E48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4AFFE7B-BAB3-2BE6-68C7-82413494811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305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titl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0D8E0D9-9406-08F5-F3AB-192276B8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11274552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3010F0C-E353-B615-EE43-DC7134E72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28E7F92-C4B1-FD15-88E1-E80C3CABEB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7BE634E-7C12-4735-5F97-ACA0CB41F520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91A8E84-4915-F847-688F-F749F3B632B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A4049EA-1C80-CEF2-C39E-9249C1D29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195614"/>
            <a:ext cx="11274552" cy="24622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0459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9199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F219C23-5248-6A23-1656-7F24D37DB2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D0F7879-EF16-5C25-BC5F-DF85AD10BA3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7931746-EE72-E501-E583-1218E82991F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4284578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342884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2B93596-9EFA-D1CF-1891-B79E8C1342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8594" y="1585875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FDC7A20-9DDC-243D-12E0-D419647A67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8594" y="2359058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BB83A-8F61-9449-F88A-D14428FB92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594" y="2744373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28CEB9B-E281-2F84-4094-6D6C75AE16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8594" y="327345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5D4FBD-9119-A47E-823E-8468ED6CF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08594" y="3560388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67B81F6-EE7E-69A9-E411-F7C523034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08594" y="4117149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D40B0A2-8366-4164-6D42-A15D2F6F5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353882"/>
            <a:ext cx="4220135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7200" b="0" i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A2464A-FAB8-9787-5897-30B871357252}"/>
              </a:ext>
            </a:extLst>
          </p:cNvPr>
          <p:cNvCxnSpPr>
            <a:cxnSpLocks/>
          </p:cNvCxnSpPr>
          <p:nvPr userDrawn="1"/>
        </p:nvCxnSpPr>
        <p:spPr>
          <a:xfrm>
            <a:off x="6008594" y="1981200"/>
            <a:ext cx="6248400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918791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C487BF-0EFB-7D6C-3495-E817AE08A6A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C4526B2C-80FA-F150-338B-DB03C5073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663" y="1035424"/>
            <a:ext cx="464820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7200" b="0" dirty="0">
                <a:gradFill>
                  <a:gsLst>
                    <a:gs pos="50000">
                      <a:schemeClr val="accent2"/>
                    </a:gs>
                    <a:gs pos="70000">
                      <a:schemeClr val="accent5"/>
                    </a:gs>
                    <a:gs pos="100000">
                      <a:schemeClr val="accent4"/>
                    </a:gs>
                  </a:gsLst>
                  <a:lin ang="1200000" scaled="0"/>
                </a:gra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F9CC8A-BAB0-4529-6083-A3D7F01CE4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4663" y="2540616"/>
            <a:ext cx="3827462" cy="25725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For more information, contac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054708-622B-37B7-6E33-486A71C952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663" y="3313799"/>
            <a:ext cx="3827462" cy="28943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56D2A3F-CCA1-F399-D035-1BB32FED63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663" y="3672220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Position tit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50C7B71-5C80-8C3A-B66C-42F7296EB9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663" y="420130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Insert emai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FDDCB6-69BB-2359-40AB-46BA1DA744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4663" y="4488235"/>
            <a:ext cx="3827462" cy="22512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+1 000 000 000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16F9E7-5E17-1B62-F499-C761278885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4663" y="4897078"/>
            <a:ext cx="3827462" cy="117307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ddress Line 1</a:t>
            </a:r>
          </a:p>
          <a:p>
            <a:r>
              <a:rPr lang="en-US"/>
              <a:t>Address Line 2</a:t>
            </a:r>
          </a:p>
          <a:p>
            <a:r>
              <a:rPr lang="en-US"/>
              <a:t>Zip Code</a:t>
            </a:r>
          </a:p>
          <a:p>
            <a:r>
              <a:rPr lang="en-US"/>
              <a:t>Countr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8FF80AE-E38B-EC18-E1B5-2B5AAE36C2F4}"/>
              </a:ext>
            </a:extLst>
          </p:cNvPr>
          <p:cNvCxnSpPr>
            <a:cxnSpLocks/>
          </p:cNvCxnSpPr>
          <p:nvPr userDrawn="1"/>
        </p:nvCxnSpPr>
        <p:spPr>
          <a:xfrm>
            <a:off x="474663" y="2935941"/>
            <a:ext cx="3534335" cy="0"/>
          </a:xfrm>
          <a:prstGeom prst="line">
            <a:avLst/>
          </a:prstGeom>
          <a:ln w="6350">
            <a:solidFill>
              <a:schemeClr val="bg1">
                <a:alpha val="65123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726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Photo_+_Caption_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0EF9F7-1BDD-C412-DA7B-D3D0D1ABA0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0" y="670773"/>
            <a:ext cx="10896600" cy="553952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1B8CB-9FFB-8D0A-F788-18710501B096}"/>
              </a:ext>
            </a:extLst>
          </p:cNvPr>
          <p:cNvSpPr/>
          <p:nvPr userDrawn="1"/>
        </p:nvSpPr>
        <p:spPr bwMode="auto">
          <a:xfrm>
            <a:off x="0" y="2679405"/>
            <a:ext cx="4924396" cy="4178595"/>
          </a:xfrm>
          <a:prstGeom prst="rect">
            <a:avLst/>
          </a:prstGeom>
          <a:solidFill>
            <a:srgbClr val="161616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8E94620-1500-8D43-BD64-006D83AE4B8E}"/>
              </a:ext>
            </a:extLst>
          </p:cNvPr>
          <p:cNvSpPr/>
          <p:nvPr userDrawn="1"/>
        </p:nvSpPr>
        <p:spPr bwMode="auto">
          <a:xfrm>
            <a:off x="-2151983" y="5103629"/>
            <a:ext cx="3848986" cy="3848986"/>
          </a:xfrm>
          <a:prstGeom prst="ellipse">
            <a:avLst/>
          </a:prstGeom>
          <a:solidFill>
            <a:srgbClr val="8B97FF">
              <a:alpha val="65000"/>
            </a:srgbClr>
          </a:solidFill>
          <a:ln>
            <a:noFill/>
          </a:ln>
          <a:effectLst>
            <a:softEdge rad="805949"/>
          </a:effectLst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Calibri" panose="020F0502020204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159C2A-0FC8-422F-92E4-B92935AAE5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699" y="3809007"/>
            <a:ext cx="3722281" cy="116955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aption with two or more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3428999"/>
            <a:ext cx="3732914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 spc="3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PREHEADER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84CEF6B-33E9-BCE0-3818-CFEBB6352D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5438001"/>
            <a:ext cx="369038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2FADFE-CDC9-BCE0-575D-8C2B21EF5ECA}"/>
              </a:ext>
            </a:extLst>
          </p:cNvPr>
          <p:cNvSpPr txBox="1"/>
          <p:nvPr userDrawn="1"/>
        </p:nvSpPr>
        <p:spPr>
          <a:xfrm>
            <a:off x="2271713" y="-857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FE3F6A-717B-D671-C21C-B99B4FB23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1" y="237004"/>
            <a:ext cx="495300" cy="18209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AA398A-2E47-0C00-F4A0-87498FC7BBC1}"/>
              </a:ext>
            </a:extLst>
          </p:cNvPr>
          <p:cNvSpPr txBox="1"/>
          <p:nvPr userDrawn="1"/>
        </p:nvSpPr>
        <p:spPr>
          <a:xfrm>
            <a:off x="9526625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8E7F306-CD25-215E-BBB0-42720869F90C}"/>
              </a:ext>
            </a:extLst>
          </p:cNvPr>
          <p:cNvSpPr txBox="1">
            <a:spLocks/>
          </p:cNvSpPr>
          <p:nvPr userDrawn="1"/>
        </p:nvSpPr>
        <p:spPr>
          <a:xfrm>
            <a:off x="11340916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752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D2FFF58-70EB-C86F-9E59-1581F18B87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FF9120F-E29C-8B3A-D5EB-E673F7B24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8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A6D870D-A9F4-488C-8ECB-5016711134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98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30563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-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7891C23-3EE8-0CED-28FE-170D18A2D615}"/>
              </a:ext>
            </a:extLst>
          </p:cNvPr>
          <p:cNvGrpSpPr/>
          <p:nvPr userDrawn="1"/>
        </p:nvGrpSpPr>
        <p:grpSpPr>
          <a:xfrm>
            <a:off x="3909694" y="-2"/>
            <a:ext cx="4653972" cy="6858002"/>
            <a:chOff x="3300840" y="-2"/>
            <a:chExt cx="4653972" cy="6858002"/>
          </a:xfrm>
          <a:solidFill>
            <a:schemeClr val="bg1">
              <a:lumMod val="95000"/>
            </a:schemeClr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4E5E53-9F1A-D61C-9EEB-E1510482E5BF}"/>
                </a:ext>
              </a:extLst>
            </p:cNvPr>
            <p:cNvSpPr/>
            <p:nvPr userDrawn="1"/>
          </p:nvSpPr>
          <p:spPr bwMode="auto">
            <a:xfrm>
              <a:off x="3300840" y="0"/>
              <a:ext cx="4110732" cy="68580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rtlCol="0" anchor="ctr"/>
            <a:lstStyle/>
            <a:p>
              <a:pPr algn="ctr"/>
              <a:endParaRPr lang="en-US" sz="2400" err="1">
                <a:solidFill>
                  <a:schemeClr val="bg1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endParaRPr>
            </a:p>
          </p:txBody>
        </p:sp>
        <p:sp>
          <p:nvSpPr>
            <p:cNvPr id="13" name="Isosceles Triangle 13">
              <a:extLst>
                <a:ext uri="{FF2B5EF4-FFF2-40B4-BE49-F238E27FC236}">
                  <a16:creationId xmlns:a16="http://schemas.microsoft.com/office/drawing/2014/main" id="{DF41968F-990C-67B1-0475-04E0249E281A}"/>
                </a:ext>
              </a:extLst>
            </p:cNvPr>
            <p:cNvSpPr/>
            <p:nvPr userDrawn="1"/>
          </p:nvSpPr>
          <p:spPr>
            <a:xfrm rot="5400000" flipH="1">
              <a:off x="4249415" y="3152602"/>
              <a:ext cx="6858002" cy="55279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1" y="0"/>
            <a:ext cx="407670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936060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80E4AD9-5B60-F04F-FEE1-80647A0EA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189EAA6-8653-D9C5-4653-C4B7BB2BB3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83209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581569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6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0FD50C-06F7-21CC-1F6A-D75586A5063A}"/>
              </a:ext>
            </a:extLst>
          </p:cNvPr>
          <p:cNvSpPr/>
          <p:nvPr userDrawn="1"/>
        </p:nvSpPr>
        <p:spPr bwMode="auto">
          <a:xfrm>
            <a:off x="5166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6866651-9DE6-3C00-E38E-CCE80D6049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367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991B0C-C540-A449-1C7D-F3AE627558A1}"/>
              </a:ext>
            </a:extLst>
          </p:cNvPr>
          <p:cNvSpPr txBox="1"/>
          <p:nvPr userDrawn="1"/>
        </p:nvSpPr>
        <p:spPr>
          <a:xfrm>
            <a:off x="10054041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382AE5-9D01-6839-5979-7A3921E0574F}"/>
              </a:ext>
            </a:extLst>
          </p:cNvPr>
          <p:cNvSpPr txBox="1">
            <a:spLocks/>
          </p:cNvSpPr>
          <p:nvPr userDrawn="1"/>
        </p:nvSpPr>
        <p:spPr>
          <a:xfrm>
            <a:off x="11503260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9820274" y="0"/>
            <a:ext cx="237172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894D8D-7B75-A627-E4B9-1C694A55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8252847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205EF53-7E88-FC61-2AD6-524C99515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091D4E-6AE3-3F04-D0A0-8C96044CC29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678EB0A-0FF2-079E-6368-97511A388F28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148433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452783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F441E88-7FE8-D22E-100F-B090659320A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FA5AB7F-48A8-2636-3278-4702BB8C5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B4A2EA-2922-26E5-D797-A05E70DB9B02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C8D5290-AB1A-98C0-647E-05F429722DE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C395CC0-872C-69F3-88ED-BEF3B6BA9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84DF7A43-01BC-022E-268E-6B2F50E13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6CAB9-3229-A377-2782-A27CB6B30495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B5412B9-D91D-8002-0693-897E81DD8C8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339090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994732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6C5343-68AD-9879-2727-7ECBCB6A1B23}"/>
              </a:ext>
            </a:extLst>
          </p:cNvPr>
          <p:cNvSpPr/>
          <p:nvPr userDrawn="1"/>
        </p:nvSpPr>
        <p:spPr bwMode="auto">
          <a:xfrm>
            <a:off x="0" y="17335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EF0FAA-381C-3A89-42AF-830EF5911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56236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B24921F-F7DB-7A40-465F-85F610FC20C6}"/>
              </a:ext>
            </a:extLst>
          </p:cNvPr>
          <p:cNvSpPr txBox="1"/>
          <p:nvPr userDrawn="1"/>
        </p:nvSpPr>
        <p:spPr>
          <a:xfrm>
            <a:off x="10048875" y="6423925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4F018D9-6B5F-8BCB-BD75-7816BF58C56F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23926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723900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2213811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D9D0C0-2EBB-53F1-FD7B-7BFF49053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BF6AFA3-4B0B-A44E-C32C-9E35F112D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437B-1C43-BD15-538B-E37E3F956D9A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3EDF6C-81ED-D75B-14CE-F3906A1FF5D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097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0C5E2-D359-5FED-B284-19CF47A41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A60CDFE-3A94-5F3A-0523-ABA5607800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7052EF-2C83-09DE-9638-F3492217FF7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97612B5-8615-3AC0-8239-012312B6FD99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896145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Custiom_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05BDBBF2-452B-8A53-D3BC-946EEC403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" y="1793240"/>
            <a:ext cx="5640805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60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CA620CE-1B8B-D388-B43E-902BAFDB8F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65" y="1336040"/>
            <a:ext cx="498928" cy="321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B21D373-42F2-86AB-3F79-81C1BE3482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65" y="3126991"/>
            <a:ext cx="4554537" cy="28943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8720EBE-A59D-52D5-044F-DF5C07F83D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F31129-9154-6101-E99F-40D9C428A70F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7BD8E2-6131-A98D-36C8-080B716E4D6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4117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2960BA-AA0C-9715-43A2-22B9050A4780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1783F67-AD13-06FC-C79E-DE6FBF4D05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F414E4-F961-7DD4-8CFB-7B93DD10B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2BE525B-A1C0-1DD5-E075-79F96E71ED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7A229-8E7F-A1E8-7492-218AEFB06B0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1751A4-BF09-09F2-77C6-42F2F2AEB24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425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696201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463925-928E-4FE1-B9E5-B83141A2C221}"/>
              </a:ext>
            </a:extLst>
          </p:cNvPr>
          <p:cNvSpPr/>
          <p:nvPr userDrawn="1"/>
        </p:nvSpPr>
        <p:spPr bwMode="auto">
          <a:xfrm>
            <a:off x="-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69AD5E-5F94-E6C0-0DB3-77E8A5A0D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3DBF0C-CA25-003D-B5D8-6EE24C1F808C}"/>
              </a:ext>
            </a:extLst>
          </p:cNvPr>
          <p:cNvSpPr txBox="1"/>
          <p:nvPr userDrawn="1"/>
        </p:nvSpPr>
        <p:spPr>
          <a:xfrm>
            <a:off x="10048874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97B36E0-E687-34C7-ACB3-F681FF77C582}"/>
              </a:ext>
            </a:extLst>
          </p:cNvPr>
          <p:cNvSpPr txBox="1">
            <a:spLocks/>
          </p:cNvSpPr>
          <p:nvPr userDrawn="1"/>
        </p:nvSpPr>
        <p:spPr>
          <a:xfrm>
            <a:off x="11498093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C81004-83D3-1FD9-8DEB-8753B675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23900"/>
            <a:ext cx="3611880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B05C9E2-FF8C-3AB5-99B5-2786F045CA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3178D-6CC8-41D7-8CEB-9ED5EE67A4BD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CC52C08-BA77-F41F-7A2A-48DD915C7E8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92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79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D6310AE-15DA-337B-9B5E-33A904BF354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4F314DE-C7E3-7237-4318-0407E44F57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5B1A98-E850-C3DE-38BF-EFAE0A2DC98C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E6FC5F8-7CE5-D29D-2CCA-C5715CDD43B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09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44049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69C4A8F-5B1E-7B0E-CAF7-B9F33D92C84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F520A7-9AB7-29A3-F6E1-6EDE842DF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553084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35B6FBE-AD77-73FE-AB75-C5B0A0FF3D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7"/>
            <a:ext cx="3611880" cy="225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D6F42AB-F517-759C-A3C4-63443ED771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4E9D77-5CF8-5131-6018-48DF58117ECE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34280A7-4796-759A-6B00-0444E865A6A0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524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554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54523F-EFD3-EDB0-4AF0-FB2421CCF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DB8D92B-BDD7-86B1-A31A-C3740736BA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999468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314235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54523F-EFD3-EDB0-4AF0-FB2421CCF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3900"/>
            <a:ext cx="2586789" cy="4572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DB8D92B-BDD7-86B1-A31A-C3740736BA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82446"/>
            <a:ext cx="2586789" cy="2552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cap="all" spc="3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add section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5325495-8AB0-354C-B08E-DEBACB7A60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562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2.sv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7.xml"/><Relationship Id="rId18" Type="http://schemas.openxmlformats.org/officeDocument/2006/relationships/slideLayout" Target="../slideLayouts/slideLayout662.xml"/><Relationship Id="rId26" Type="http://schemas.openxmlformats.org/officeDocument/2006/relationships/slideLayout" Target="../slideLayouts/slideLayout670.xml"/><Relationship Id="rId39" Type="http://schemas.openxmlformats.org/officeDocument/2006/relationships/slideLayout" Target="../slideLayouts/slideLayout683.xml"/><Relationship Id="rId21" Type="http://schemas.openxmlformats.org/officeDocument/2006/relationships/slideLayout" Target="../slideLayouts/slideLayout665.xml"/><Relationship Id="rId34" Type="http://schemas.openxmlformats.org/officeDocument/2006/relationships/slideLayout" Target="../slideLayouts/slideLayout678.xml"/><Relationship Id="rId42" Type="http://schemas.openxmlformats.org/officeDocument/2006/relationships/slideLayout" Target="../slideLayouts/slideLayout686.xml"/><Relationship Id="rId47" Type="http://schemas.openxmlformats.org/officeDocument/2006/relationships/slideLayout" Target="../slideLayouts/slideLayout691.xml"/><Relationship Id="rId50" Type="http://schemas.openxmlformats.org/officeDocument/2006/relationships/slideLayout" Target="../slideLayouts/slideLayout694.xml"/><Relationship Id="rId55" Type="http://schemas.openxmlformats.org/officeDocument/2006/relationships/slideLayout" Target="../slideLayouts/slideLayout699.xml"/><Relationship Id="rId7" Type="http://schemas.openxmlformats.org/officeDocument/2006/relationships/slideLayout" Target="../slideLayouts/slideLayout651.xml"/><Relationship Id="rId2" Type="http://schemas.openxmlformats.org/officeDocument/2006/relationships/slideLayout" Target="../slideLayouts/slideLayout646.xml"/><Relationship Id="rId16" Type="http://schemas.openxmlformats.org/officeDocument/2006/relationships/slideLayout" Target="../slideLayouts/slideLayout660.xml"/><Relationship Id="rId29" Type="http://schemas.openxmlformats.org/officeDocument/2006/relationships/slideLayout" Target="../slideLayouts/slideLayout673.xml"/><Relationship Id="rId11" Type="http://schemas.openxmlformats.org/officeDocument/2006/relationships/slideLayout" Target="../slideLayouts/slideLayout655.xml"/><Relationship Id="rId24" Type="http://schemas.openxmlformats.org/officeDocument/2006/relationships/slideLayout" Target="../slideLayouts/slideLayout668.xml"/><Relationship Id="rId32" Type="http://schemas.openxmlformats.org/officeDocument/2006/relationships/slideLayout" Target="../slideLayouts/slideLayout676.xml"/><Relationship Id="rId37" Type="http://schemas.openxmlformats.org/officeDocument/2006/relationships/slideLayout" Target="../slideLayouts/slideLayout681.xml"/><Relationship Id="rId40" Type="http://schemas.openxmlformats.org/officeDocument/2006/relationships/slideLayout" Target="../slideLayouts/slideLayout684.xml"/><Relationship Id="rId45" Type="http://schemas.openxmlformats.org/officeDocument/2006/relationships/slideLayout" Target="../slideLayouts/slideLayout689.xml"/><Relationship Id="rId53" Type="http://schemas.openxmlformats.org/officeDocument/2006/relationships/slideLayout" Target="../slideLayouts/slideLayout697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649.xml"/><Relationship Id="rId19" Type="http://schemas.openxmlformats.org/officeDocument/2006/relationships/slideLayout" Target="../slideLayouts/slideLayout663.xml"/><Relationship Id="rId4" Type="http://schemas.openxmlformats.org/officeDocument/2006/relationships/slideLayout" Target="../slideLayouts/slideLayout648.xml"/><Relationship Id="rId9" Type="http://schemas.openxmlformats.org/officeDocument/2006/relationships/slideLayout" Target="../slideLayouts/slideLayout653.xml"/><Relationship Id="rId14" Type="http://schemas.openxmlformats.org/officeDocument/2006/relationships/slideLayout" Target="../slideLayouts/slideLayout658.xml"/><Relationship Id="rId22" Type="http://schemas.openxmlformats.org/officeDocument/2006/relationships/slideLayout" Target="../slideLayouts/slideLayout666.xml"/><Relationship Id="rId27" Type="http://schemas.openxmlformats.org/officeDocument/2006/relationships/slideLayout" Target="../slideLayouts/slideLayout671.xml"/><Relationship Id="rId30" Type="http://schemas.openxmlformats.org/officeDocument/2006/relationships/slideLayout" Target="../slideLayouts/slideLayout674.xml"/><Relationship Id="rId35" Type="http://schemas.openxmlformats.org/officeDocument/2006/relationships/slideLayout" Target="../slideLayouts/slideLayout679.xml"/><Relationship Id="rId43" Type="http://schemas.openxmlformats.org/officeDocument/2006/relationships/slideLayout" Target="../slideLayouts/slideLayout687.xml"/><Relationship Id="rId48" Type="http://schemas.openxmlformats.org/officeDocument/2006/relationships/slideLayout" Target="../slideLayouts/slideLayout692.xml"/><Relationship Id="rId56" Type="http://schemas.openxmlformats.org/officeDocument/2006/relationships/slideLayout" Target="../slideLayouts/slideLayout700.xml"/><Relationship Id="rId8" Type="http://schemas.openxmlformats.org/officeDocument/2006/relationships/slideLayout" Target="../slideLayouts/slideLayout652.xml"/><Relationship Id="rId51" Type="http://schemas.openxmlformats.org/officeDocument/2006/relationships/slideLayout" Target="../slideLayouts/slideLayout695.xml"/><Relationship Id="rId3" Type="http://schemas.openxmlformats.org/officeDocument/2006/relationships/slideLayout" Target="../slideLayouts/slideLayout647.xml"/><Relationship Id="rId12" Type="http://schemas.openxmlformats.org/officeDocument/2006/relationships/slideLayout" Target="../slideLayouts/slideLayout656.xml"/><Relationship Id="rId17" Type="http://schemas.openxmlformats.org/officeDocument/2006/relationships/slideLayout" Target="../slideLayouts/slideLayout661.xml"/><Relationship Id="rId25" Type="http://schemas.openxmlformats.org/officeDocument/2006/relationships/slideLayout" Target="../slideLayouts/slideLayout669.xml"/><Relationship Id="rId33" Type="http://schemas.openxmlformats.org/officeDocument/2006/relationships/slideLayout" Target="../slideLayouts/slideLayout677.xml"/><Relationship Id="rId38" Type="http://schemas.openxmlformats.org/officeDocument/2006/relationships/slideLayout" Target="../slideLayouts/slideLayout682.xml"/><Relationship Id="rId46" Type="http://schemas.openxmlformats.org/officeDocument/2006/relationships/slideLayout" Target="../slideLayouts/slideLayout690.xml"/><Relationship Id="rId59" Type="http://schemas.openxmlformats.org/officeDocument/2006/relationships/image" Target="../media/image2.svg"/><Relationship Id="rId20" Type="http://schemas.openxmlformats.org/officeDocument/2006/relationships/slideLayout" Target="../slideLayouts/slideLayout664.xml"/><Relationship Id="rId41" Type="http://schemas.openxmlformats.org/officeDocument/2006/relationships/slideLayout" Target="../slideLayouts/slideLayout685.xml"/><Relationship Id="rId54" Type="http://schemas.openxmlformats.org/officeDocument/2006/relationships/slideLayout" Target="../slideLayouts/slideLayout698.xml"/><Relationship Id="rId1" Type="http://schemas.openxmlformats.org/officeDocument/2006/relationships/slideLayout" Target="../slideLayouts/slideLayout645.xml"/><Relationship Id="rId6" Type="http://schemas.openxmlformats.org/officeDocument/2006/relationships/slideLayout" Target="../slideLayouts/slideLayout650.xml"/><Relationship Id="rId15" Type="http://schemas.openxmlformats.org/officeDocument/2006/relationships/slideLayout" Target="../slideLayouts/slideLayout659.xml"/><Relationship Id="rId23" Type="http://schemas.openxmlformats.org/officeDocument/2006/relationships/slideLayout" Target="../slideLayouts/slideLayout667.xml"/><Relationship Id="rId28" Type="http://schemas.openxmlformats.org/officeDocument/2006/relationships/slideLayout" Target="../slideLayouts/slideLayout672.xml"/><Relationship Id="rId36" Type="http://schemas.openxmlformats.org/officeDocument/2006/relationships/slideLayout" Target="../slideLayouts/slideLayout680.xml"/><Relationship Id="rId49" Type="http://schemas.openxmlformats.org/officeDocument/2006/relationships/slideLayout" Target="../slideLayouts/slideLayout693.xml"/><Relationship Id="rId57" Type="http://schemas.openxmlformats.org/officeDocument/2006/relationships/theme" Target="../theme/theme10.xml"/><Relationship Id="rId10" Type="http://schemas.openxmlformats.org/officeDocument/2006/relationships/slideLayout" Target="../slideLayouts/slideLayout654.xml"/><Relationship Id="rId31" Type="http://schemas.openxmlformats.org/officeDocument/2006/relationships/slideLayout" Target="../slideLayouts/slideLayout675.xml"/><Relationship Id="rId44" Type="http://schemas.openxmlformats.org/officeDocument/2006/relationships/slideLayout" Target="../slideLayouts/slideLayout688.xml"/><Relationship Id="rId52" Type="http://schemas.openxmlformats.org/officeDocument/2006/relationships/slideLayout" Target="../slideLayouts/slideLayout696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3.xml"/><Relationship Id="rId18" Type="http://schemas.openxmlformats.org/officeDocument/2006/relationships/slideLayout" Target="../slideLayouts/slideLayout718.xml"/><Relationship Id="rId26" Type="http://schemas.openxmlformats.org/officeDocument/2006/relationships/slideLayout" Target="../slideLayouts/slideLayout726.xml"/><Relationship Id="rId39" Type="http://schemas.openxmlformats.org/officeDocument/2006/relationships/slideLayout" Target="../slideLayouts/slideLayout739.xml"/><Relationship Id="rId21" Type="http://schemas.openxmlformats.org/officeDocument/2006/relationships/slideLayout" Target="../slideLayouts/slideLayout721.xml"/><Relationship Id="rId34" Type="http://schemas.openxmlformats.org/officeDocument/2006/relationships/slideLayout" Target="../slideLayouts/slideLayout734.xml"/><Relationship Id="rId42" Type="http://schemas.openxmlformats.org/officeDocument/2006/relationships/slideLayout" Target="../slideLayouts/slideLayout742.xml"/><Relationship Id="rId47" Type="http://schemas.openxmlformats.org/officeDocument/2006/relationships/slideLayout" Target="../slideLayouts/slideLayout747.xml"/><Relationship Id="rId50" Type="http://schemas.openxmlformats.org/officeDocument/2006/relationships/tags" Target="../tags/tag5.xml"/><Relationship Id="rId7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702.xml"/><Relationship Id="rId16" Type="http://schemas.openxmlformats.org/officeDocument/2006/relationships/slideLayout" Target="../slideLayouts/slideLayout716.xml"/><Relationship Id="rId29" Type="http://schemas.openxmlformats.org/officeDocument/2006/relationships/slideLayout" Target="../slideLayouts/slideLayout729.xml"/><Relationship Id="rId11" Type="http://schemas.openxmlformats.org/officeDocument/2006/relationships/slideLayout" Target="../slideLayouts/slideLayout711.xml"/><Relationship Id="rId24" Type="http://schemas.openxmlformats.org/officeDocument/2006/relationships/slideLayout" Target="../slideLayouts/slideLayout724.xml"/><Relationship Id="rId32" Type="http://schemas.openxmlformats.org/officeDocument/2006/relationships/slideLayout" Target="../slideLayouts/slideLayout732.xml"/><Relationship Id="rId37" Type="http://schemas.openxmlformats.org/officeDocument/2006/relationships/slideLayout" Target="../slideLayouts/slideLayout737.xml"/><Relationship Id="rId40" Type="http://schemas.openxmlformats.org/officeDocument/2006/relationships/slideLayout" Target="../slideLayouts/slideLayout740.xml"/><Relationship Id="rId45" Type="http://schemas.openxmlformats.org/officeDocument/2006/relationships/slideLayout" Target="../slideLayouts/slideLayout745.xml"/><Relationship Id="rId5" Type="http://schemas.openxmlformats.org/officeDocument/2006/relationships/slideLayout" Target="../slideLayouts/slideLayout705.xml"/><Relationship Id="rId15" Type="http://schemas.openxmlformats.org/officeDocument/2006/relationships/slideLayout" Target="../slideLayouts/slideLayout715.xml"/><Relationship Id="rId23" Type="http://schemas.openxmlformats.org/officeDocument/2006/relationships/slideLayout" Target="../slideLayouts/slideLayout723.xml"/><Relationship Id="rId28" Type="http://schemas.openxmlformats.org/officeDocument/2006/relationships/slideLayout" Target="../slideLayouts/slideLayout728.xml"/><Relationship Id="rId36" Type="http://schemas.openxmlformats.org/officeDocument/2006/relationships/slideLayout" Target="../slideLayouts/slideLayout736.xml"/><Relationship Id="rId49" Type="http://schemas.openxmlformats.org/officeDocument/2006/relationships/theme" Target="../theme/theme11.xml"/><Relationship Id="rId10" Type="http://schemas.openxmlformats.org/officeDocument/2006/relationships/slideLayout" Target="../slideLayouts/slideLayout710.xml"/><Relationship Id="rId19" Type="http://schemas.openxmlformats.org/officeDocument/2006/relationships/slideLayout" Target="../slideLayouts/slideLayout719.xml"/><Relationship Id="rId31" Type="http://schemas.openxmlformats.org/officeDocument/2006/relationships/slideLayout" Target="../slideLayouts/slideLayout731.xml"/><Relationship Id="rId44" Type="http://schemas.openxmlformats.org/officeDocument/2006/relationships/slideLayout" Target="../slideLayouts/slideLayout7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704.xml"/><Relationship Id="rId9" Type="http://schemas.openxmlformats.org/officeDocument/2006/relationships/slideLayout" Target="../slideLayouts/slideLayout709.xml"/><Relationship Id="rId14" Type="http://schemas.openxmlformats.org/officeDocument/2006/relationships/slideLayout" Target="../slideLayouts/slideLayout714.xml"/><Relationship Id="rId22" Type="http://schemas.openxmlformats.org/officeDocument/2006/relationships/slideLayout" Target="../slideLayouts/slideLayout722.xml"/><Relationship Id="rId27" Type="http://schemas.openxmlformats.org/officeDocument/2006/relationships/slideLayout" Target="../slideLayouts/slideLayout727.xml"/><Relationship Id="rId30" Type="http://schemas.openxmlformats.org/officeDocument/2006/relationships/slideLayout" Target="../slideLayouts/slideLayout730.xml"/><Relationship Id="rId35" Type="http://schemas.openxmlformats.org/officeDocument/2006/relationships/slideLayout" Target="../slideLayouts/slideLayout735.xml"/><Relationship Id="rId43" Type="http://schemas.openxmlformats.org/officeDocument/2006/relationships/slideLayout" Target="../slideLayouts/slideLayout743.xml"/><Relationship Id="rId48" Type="http://schemas.openxmlformats.org/officeDocument/2006/relationships/slideLayout" Target="../slideLayouts/slideLayout748.xml"/><Relationship Id="rId8" Type="http://schemas.openxmlformats.org/officeDocument/2006/relationships/slideLayout" Target="../slideLayouts/slideLayout70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703.xml"/><Relationship Id="rId12" Type="http://schemas.openxmlformats.org/officeDocument/2006/relationships/slideLayout" Target="../slideLayouts/slideLayout712.xml"/><Relationship Id="rId17" Type="http://schemas.openxmlformats.org/officeDocument/2006/relationships/slideLayout" Target="../slideLayouts/slideLayout717.xml"/><Relationship Id="rId25" Type="http://schemas.openxmlformats.org/officeDocument/2006/relationships/slideLayout" Target="../slideLayouts/slideLayout725.xml"/><Relationship Id="rId33" Type="http://schemas.openxmlformats.org/officeDocument/2006/relationships/slideLayout" Target="../slideLayouts/slideLayout733.xml"/><Relationship Id="rId38" Type="http://schemas.openxmlformats.org/officeDocument/2006/relationships/slideLayout" Target="../slideLayouts/slideLayout738.xml"/><Relationship Id="rId46" Type="http://schemas.openxmlformats.org/officeDocument/2006/relationships/slideLayout" Target="../slideLayouts/slideLayout746.xml"/><Relationship Id="rId20" Type="http://schemas.openxmlformats.org/officeDocument/2006/relationships/slideLayout" Target="../slideLayouts/slideLayout720.xml"/><Relationship Id="rId41" Type="http://schemas.openxmlformats.org/officeDocument/2006/relationships/slideLayout" Target="../slideLayouts/slideLayout741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1.xml"/><Relationship Id="rId18" Type="http://schemas.openxmlformats.org/officeDocument/2006/relationships/slideLayout" Target="../slideLayouts/slideLayout766.xml"/><Relationship Id="rId26" Type="http://schemas.openxmlformats.org/officeDocument/2006/relationships/slideLayout" Target="../slideLayouts/slideLayout774.xml"/><Relationship Id="rId39" Type="http://schemas.openxmlformats.org/officeDocument/2006/relationships/slideLayout" Target="../slideLayouts/slideLayout787.xml"/><Relationship Id="rId21" Type="http://schemas.openxmlformats.org/officeDocument/2006/relationships/slideLayout" Target="../slideLayouts/slideLayout769.xml"/><Relationship Id="rId34" Type="http://schemas.openxmlformats.org/officeDocument/2006/relationships/slideLayout" Target="../slideLayouts/slideLayout782.xml"/><Relationship Id="rId42" Type="http://schemas.openxmlformats.org/officeDocument/2006/relationships/slideLayout" Target="../slideLayouts/slideLayout790.xml"/><Relationship Id="rId47" Type="http://schemas.openxmlformats.org/officeDocument/2006/relationships/slideLayout" Target="../slideLayouts/slideLayout795.xml"/><Relationship Id="rId50" Type="http://schemas.openxmlformats.org/officeDocument/2006/relationships/slideLayout" Target="../slideLayouts/slideLayout798.xml"/><Relationship Id="rId55" Type="http://schemas.openxmlformats.org/officeDocument/2006/relationships/slideLayout" Target="../slideLayouts/slideLayout803.xml"/><Relationship Id="rId7" Type="http://schemas.openxmlformats.org/officeDocument/2006/relationships/slideLayout" Target="../slideLayouts/slideLayout755.xml"/><Relationship Id="rId2" Type="http://schemas.openxmlformats.org/officeDocument/2006/relationships/slideLayout" Target="../slideLayouts/slideLayout750.xml"/><Relationship Id="rId16" Type="http://schemas.openxmlformats.org/officeDocument/2006/relationships/slideLayout" Target="../slideLayouts/slideLayout764.xml"/><Relationship Id="rId29" Type="http://schemas.openxmlformats.org/officeDocument/2006/relationships/slideLayout" Target="../slideLayouts/slideLayout777.xml"/><Relationship Id="rId11" Type="http://schemas.openxmlformats.org/officeDocument/2006/relationships/slideLayout" Target="../slideLayouts/slideLayout759.xml"/><Relationship Id="rId24" Type="http://schemas.openxmlformats.org/officeDocument/2006/relationships/slideLayout" Target="../slideLayouts/slideLayout772.xml"/><Relationship Id="rId32" Type="http://schemas.openxmlformats.org/officeDocument/2006/relationships/slideLayout" Target="../slideLayouts/slideLayout780.xml"/><Relationship Id="rId37" Type="http://schemas.openxmlformats.org/officeDocument/2006/relationships/slideLayout" Target="../slideLayouts/slideLayout785.xml"/><Relationship Id="rId40" Type="http://schemas.openxmlformats.org/officeDocument/2006/relationships/slideLayout" Target="../slideLayouts/slideLayout788.xml"/><Relationship Id="rId45" Type="http://schemas.openxmlformats.org/officeDocument/2006/relationships/slideLayout" Target="../slideLayouts/slideLayout793.xml"/><Relationship Id="rId53" Type="http://schemas.openxmlformats.org/officeDocument/2006/relationships/slideLayout" Target="../slideLayouts/slideLayout801.xml"/><Relationship Id="rId58" Type="http://schemas.openxmlformats.org/officeDocument/2006/relationships/theme" Target="../theme/theme12.xml"/><Relationship Id="rId5" Type="http://schemas.openxmlformats.org/officeDocument/2006/relationships/slideLayout" Target="../slideLayouts/slideLayout753.xml"/><Relationship Id="rId19" Type="http://schemas.openxmlformats.org/officeDocument/2006/relationships/slideLayout" Target="../slideLayouts/slideLayout767.xml"/><Relationship Id="rId4" Type="http://schemas.openxmlformats.org/officeDocument/2006/relationships/slideLayout" Target="../slideLayouts/slideLayout752.xml"/><Relationship Id="rId9" Type="http://schemas.openxmlformats.org/officeDocument/2006/relationships/slideLayout" Target="../slideLayouts/slideLayout757.xml"/><Relationship Id="rId14" Type="http://schemas.openxmlformats.org/officeDocument/2006/relationships/slideLayout" Target="../slideLayouts/slideLayout762.xml"/><Relationship Id="rId22" Type="http://schemas.openxmlformats.org/officeDocument/2006/relationships/slideLayout" Target="../slideLayouts/slideLayout770.xml"/><Relationship Id="rId27" Type="http://schemas.openxmlformats.org/officeDocument/2006/relationships/slideLayout" Target="../slideLayouts/slideLayout775.xml"/><Relationship Id="rId30" Type="http://schemas.openxmlformats.org/officeDocument/2006/relationships/slideLayout" Target="../slideLayouts/slideLayout778.xml"/><Relationship Id="rId35" Type="http://schemas.openxmlformats.org/officeDocument/2006/relationships/slideLayout" Target="../slideLayouts/slideLayout783.xml"/><Relationship Id="rId43" Type="http://schemas.openxmlformats.org/officeDocument/2006/relationships/slideLayout" Target="../slideLayouts/slideLayout791.xml"/><Relationship Id="rId48" Type="http://schemas.openxmlformats.org/officeDocument/2006/relationships/slideLayout" Target="../slideLayouts/slideLayout796.xml"/><Relationship Id="rId56" Type="http://schemas.openxmlformats.org/officeDocument/2006/relationships/slideLayout" Target="../slideLayouts/slideLayout804.xml"/><Relationship Id="rId8" Type="http://schemas.openxmlformats.org/officeDocument/2006/relationships/slideLayout" Target="../slideLayouts/slideLayout756.xml"/><Relationship Id="rId51" Type="http://schemas.openxmlformats.org/officeDocument/2006/relationships/slideLayout" Target="../slideLayouts/slideLayout799.xml"/><Relationship Id="rId3" Type="http://schemas.openxmlformats.org/officeDocument/2006/relationships/slideLayout" Target="../slideLayouts/slideLayout751.xml"/><Relationship Id="rId12" Type="http://schemas.openxmlformats.org/officeDocument/2006/relationships/slideLayout" Target="../slideLayouts/slideLayout760.xml"/><Relationship Id="rId17" Type="http://schemas.openxmlformats.org/officeDocument/2006/relationships/slideLayout" Target="../slideLayouts/slideLayout765.xml"/><Relationship Id="rId25" Type="http://schemas.openxmlformats.org/officeDocument/2006/relationships/slideLayout" Target="../slideLayouts/slideLayout773.xml"/><Relationship Id="rId33" Type="http://schemas.openxmlformats.org/officeDocument/2006/relationships/slideLayout" Target="../slideLayouts/slideLayout781.xml"/><Relationship Id="rId38" Type="http://schemas.openxmlformats.org/officeDocument/2006/relationships/slideLayout" Target="../slideLayouts/slideLayout786.xml"/><Relationship Id="rId46" Type="http://schemas.openxmlformats.org/officeDocument/2006/relationships/slideLayout" Target="../slideLayouts/slideLayout794.xml"/><Relationship Id="rId59" Type="http://schemas.openxmlformats.org/officeDocument/2006/relationships/image" Target="../media/image1.png"/><Relationship Id="rId20" Type="http://schemas.openxmlformats.org/officeDocument/2006/relationships/slideLayout" Target="../slideLayouts/slideLayout768.xml"/><Relationship Id="rId41" Type="http://schemas.openxmlformats.org/officeDocument/2006/relationships/slideLayout" Target="../slideLayouts/slideLayout789.xml"/><Relationship Id="rId54" Type="http://schemas.openxmlformats.org/officeDocument/2006/relationships/slideLayout" Target="../slideLayouts/slideLayout802.xml"/><Relationship Id="rId1" Type="http://schemas.openxmlformats.org/officeDocument/2006/relationships/slideLayout" Target="../slideLayouts/slideLayout749.xml"/><Relationship Id="rId6" Type="http://schemas.openxmlformats.org/officeDocument/2006/relationships/slideLayout" Target="../slideLayouts/slideLayout754.xml"/><Relationship Id="rId15" Type="http://schemas.openxmlformats.org/officeDocument/2006/relationships/slideLayout" Target="../slideLayouts/slideLayout763.xml"/><Relationship Id="rId23" Type="http://schemas.openxmlformats.org/officeDocument/2006/relationships/slideLayout" Target="../slideLayouts/slideLayout771.xml"/><Relationship Id="rId28" Type="http://schemas.openxmlformats.org/officeDocument/2006/relationships/slideLayout" Target="../slideLayouts/slideLayout776.xml"/><Relationship Id="rId36" Type="http://schemas.openxmlformats.org/officeDocument/2006/relationships/slideLayout" Target="../slideLayouts/slideLayout784.xml"/><Relationship Id="rId49" Type="http://schemas.openxmlformats.org/officeDocument/2006/relationships/slideLayout" Target="../slideLayouts/slideLayout797.xml"/><Relationship Id="rId57" Type="http://schemas.openxmlformats.org/officeDocument/2006/relationships/slideLayout" Target="../slideLayouts/slideLayout805.xml"/><Relationship Id="rId10" Type="http://schemas.openxmlformats.org/officeDocument/2006/relationships/slideLayout" Target="../slideLayouts/slideLayout758.xml"/><Relationship Id="rId31" Type="http://schemas.openxmlformats.org/officeDocument/2006/relationships/slideLayout" Target="../slideLayouts/slideLayout779.xml"/><Relationship Id="rId44" Type="http://schemas.openxmlformats.org/officeDocument/2006/relationships/slideLayout" Target="../slideLayouts/slideLayout792.xml"/><Relationship Id="rId52" Type="http://schemas.openxmlformats.org/officeDocument/2006/relationships/slideLayout" Target="../slideLayouts/slideLayout800.xml"/><Relationship Id="rId6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98.xml"/><Relationship Id="rId47" Type="http://schemas.openxmlformats.org/officeDocument/2006/relationships/slideLayout" Target="../slideLayouts/slideLayout103.xml"/><Relationship Id="rId63" Type="http://schemas.openxmlformats.org/officeDocument/2006/relationships/slideLayout" Target="../slideLayouts/slideLayout119.xml"/><Relationship Id="rId68" Type="http://schemas.openxmlformats.org/officeDocument/2006/relationships/image" Target="../media/image1.png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3" Type="http://schemas.openxmlformats.org/officeDocument/2006/relationships/slideLayout" Target="../slideLayouts/slideLayout109.xml"/><Relationship Id="rId58" Type="http://schemas.openxmlformats.org/officeDocument/2006/relationships/slideLayout" Target="../slideLayouts/slideLayout114.xml"/><Relationship Id="rId6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61.xml"/><Relationship Id="rId61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slideLayout" Target="../slideLayouts/slideLayout104.xml"/><Relationship Id="rId56" Type="http://schemas.openxmlformats.org/officeDocument/2006/relationships/slideLayout" Target="../slideLayouts/slideLayout112.xml"/><Relationship Id="rId64" Type="http://schemas.openxmlformats.org/officeDocument/2006/relationships/slideLayout" Target="../slideLayouts/slideLayout120.xml"/><Relationship Id="rId69" Type="http://schemas.openxmlformats.org/officeDocument/2006/relationships/image" Target="../media/image2.svg"/><Relationship Id="rId8" Type="http://schemas.openxmlformats.org/officeDocument/2006/relationships/slideLayout" Target="../slideLayouts/slideLayout64.xml"/><Relationship Id="rId51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slideLayout" Target="../slideLayouts/slideLayout102.xml"/><Relationship Id="rId59" Type="http://schemas.openxmlformats.org/officeDocument/2006/relationships/slideLayout" Target="../slideLayouts/slideLayout115.xml"/><Relationship Id="rId67" Type="http://schemas.openxmlformats.org/officeDocument/2006/relationships/theme" Target="../theme/theme2.xml"/><Relationship Id="rId20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97.xml"/><Relationship Id="rId54" Type="http://schemas.openxmlformats.org/officeDocument/2006/relationships/slideLayout" Target="../slideLayouts/slideLayout110.xml"/><Relationship Id="rId6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slideLayout" Target="../slideLayouts/slideLayout105.xml"/><Relationship Id="rId57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52" Type="http://schemas.openxmlformats.org/officeDocument/2006/relationships/slideLayout" Target="../slideLayouts/slideLayout108.xml"/><Relationship Id="rId60" Type="http://schemas.openxmlformats.org/officeDocument/2006/relationships/slideLayout" Target="../slideLayouts/slideLayout116.xml"/><Relationship Id="rId65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90.xml"/><Relationship Id="rId50" Type="http://schemas.openxmlformats.org/officeDocument/2006/relationships/slideLayout" Target="../slideLayouts/slideLayout106.xml"/><Relationship Id="rId55" Type="http://schemas.openxmlformats.org/officeDocument/2006/relationships/slideLayout" Target="../slideLayouts/slideLayout111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64.xml"/><Relationship Id="rId47" Type="http://schemas.openxmlformats.org/officeDocument/2006/relationships/slideLayout" Target="../slideLayouts/slideLayout169.xml"/><Relationship Id="rId63" Type="http://schemas.openxmlformats.org/officeDocument/2006/relationships/slideLayout" Target="../slideLayouts/slideLayout185.xml"/><Relationship Id="rId68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slideLayout" Target="../slideLayouts/slideLayout154.xml"/><Relationship Id="rId37" Type="http://schemas.openxmlformats.org/officeDocument/2006/relationships/slideLayout" Target="../slideLayouts/slideLayout159.xml"/><Relationship Id="rId40" Type="http://schemas.openxmlformats.org/officeDocument/2006/relationships/slideLayout" Target="../slideLayouts/slideLayout162.xml"/><Relationship Id="rId45" Type="http://schemas.openxmlformats.org/officeDocument/2006/relationships/slideLayout" Target="../slideLayouts/slideLayout167.xml"/><Relationship Id="rId53" Type="http://schemas.openxmlformats.org/officeDocument/2006/relationships/slideLayout" Target="../slideLayouts/slideLayout175.xml"/><Relationship Id="rId58" Type="http://schemas.openxmlformats.org/officeDocument/2006/relationships/slideLayout" Target="../slideLayouts/slideLayout180.xml"/><Relationship Id="rId66" Type="http://schemas.openxmlformats.org/officeDocument/2006/relationships/slideLayout" Target="../slideLayouts/slideLayout188.xml"/><Relationship Id="rId74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27.xml"/><Relationship Id="rId61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Relationship Id="rId43" Type="http://schemas.openxmlformats.org/officeDocument/2006/relationships/slideLayout" Target="../slideLayouts/slideLayout165.xml"/><Relationship Id="rId48" Type="http://schemas.openxmlformats.org/officeDocument/2006/relationships/slideLayout" Target="../slideLayouts/slideLayout170.xml"/><Relationship Id="rId56" Type="http://schemas.openxmlformats.org/officeDocument/2006/relationships/slideLayout" Target="../slideLayouts/slideLayout178.xml"/><Relationship Id="rId64" Type="http://schemas.openxmlformats.org/officeDocument/2006/relationships/slideLayout" Target="../slideLayouts/slideLayout186.xml"/><Relationship Id="rId69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30.xml"/><Relationship Id="rId51" Type="http://schemas.openxmlformats.org/officeDocument/2006/relationships/slideLayout" Target="../slideLayouts/slideLayout173.xml"/><Relationship Id="rId72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38" Type="http://schemas.openxmlformats.org/officeDocument/2006/relationships/slideLayout" Target="../slideLayouts/slideLayout160.xml"/><Relationship Id="rId46" Type="http://schemas.openxmlformats.org/officeDocument/2006/relationships/slideLayout" Target="../slideLayouts/slideLayout168.xml"/><Relationship Id="rId59" Type="http://schemas.openxmlformats.org/officeDocument/2006/relationships/slideLayout" Target="../slideLayouts/slideLayout181.xml"/><Relationship Id="rId67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42.xml"/><Relationship Id="rId41" Type="http://schemas.openxmlformats.org/officeDocument/2006/relationships/slideLayout" Target="../slideLayouts/slideLayout163.xml"/><Relationship Id="rId54" Type="http://schemas.openxmlformats.org/officeDocument/2006/relationships/slideLayout" Target="../slideLayouts/slideLayout176.xml"/><Relationship Id="rId62" Type="http://schemas.openxmlformats.org/officeDocument/2006/relationships/slideLayout" Target="../slideLayouts/slideLayout184.xml"/><Relationship Id="rId70" Type="http://schemas.openxmlformats.org/officeDocument/2006/relationships/slideLayout" Target="../slideLayouts/slideLayout192.xml"/><Relationship Id="rId75" Type="http://schemas.openxmlformats.org/officeDocument/2006/relationships/theme" Target="../theme/theme3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slideLayout" Target="../slideLayouts/slideLayout158.xml"/><Relationship Id="rId49" Type="http://schemas.openxmlformats.org/officeDocument/2006/relationships/slideLayout" Target="../slideLayouts/slideLayout171.xml"/><Relationship Id="rId57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53.xml"/><Relationship Id="rId44" Type="http://schemas.openxmlformats.org/officeDocument/2006/relationships/slideLayout" Target="../slideLayouts/slideLayout166.xml"/><Relationship Id="rId52" Type="http://schemas.openxmlformats.org/officeDocument/2006/relationships/slideLayout" Target="../slideLayouts/slideLayout174.xml"/><Relationship Id="rId60" Type="http://schemas.openxmlformats.org/officeDocument/2006/relationships/slideLayout" Target="../slideLayouts/slideLayout182.xml"/><Relationship Id="rId65" Type="http://schemas.openxmlformats.org/officeDocument/2006/relationships/slideLayout" Target="../slideLayouts/slideLayout187.xml"/><Relationship Id="rId73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39" Type="http://schemas.openxmlformats.org/officeDocument/2006/relationships/slideLayout" Target="../slideLayouts/slideLayout161.xml"/><Relationship Id="rId34" Type="http://schemas.openxmlformats.org/officeDocument/2006/relationships/slideLayout" Target="../slideLayouts/slideLayout156.xml"/><Relationship Id="rId50" Type="http://schemas.openxmlformats.org/officeDocument/2006/relationships/slideLayout" Target="../slideLayouts/slideLayout172.xml"/><Relationship Id="rId55" Type="http://schemas.openxmlformats.org/officeDocument/2006/relationships/slideLayout" Target="../slideLayouts/slideLayout177.xml"/><Relationship Id="rId76" Type="http://schemas.openxmlformats.org/officeDocument/2006/relationships/image" Target="../media/image30.emf"/><Relationship Id="rId7" Type="http://schemas.openxmlformats.org/officeDocument/2006/relationships/slideLayout" Target="../slideLayouts/slideLayout129.xml"/><Relationship Id="rId71" Type="http://schemas.openxmlformats.org/officeDocument/2006/relationships/slideLayout" Target="../slideLayouts/slideLayout19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22.xml"/><Relationship Id="rId21" Type="http://schemas.openxmlformats.org/officeDocument/2006/relationships/slideLayout" Target="../slideLayouts/slideLayout217.xml"/><Relationship Id="rId42" Type="http://schemas.openxmlformats.org/officeDocument/2006/relationships/slideLayout" Target="../slideLayouts/slideLayout238.xml"/><Relationship Id="rId47" Type="http://schemas.openxmlformats.org/officeDocument/2006/relationships/slideLayout" Target="../slideLayouts/slideLayout243.xml"/><Relationship Id="rId63" Type="http://schemas.openxmlformats.org/officeDocument/2006/relationships/slideLayout" Target="../slideLayouts/slideLayout259.xml"/><Relationship Id="rId68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212.xml"/><Relationship Id="rId29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07.xml"/><Relationship Id="rId24" Type="http://schemas.openxmlformats.org/officeDocument/2006/relationships/slideLayout" Target="../slideLayouts/slideLayout220.xml"/><Relationship Id="rId32" Type="http://schemas.openxmlformats.org/officeDocument/2006/relationships/slideLayout" Target="../slideLayouts/slideLayout228.xml"/><Relationship Id="rId37" Type="http://schemas.openxmlformats.org/officeDocument/2006/relationships/slideLayout" Target="../slideLayouts/slideLayout233.xml"/><Relationship Id="rId40" Type="http://schemas.openxmlformats.org/officeDocument/2006/relationships/slideLayout" Target="../slideLayouts/slideLayout236.xml"/><Relationship Id="rId45" Type="http://schemas.openxmlformats.org/officeDocument/2006/relationships/slideLayout" Target="../slideLayouts/slideLayout241.xml"/><Relationship Id="rId53" Type="http://schemas.openxmlformats.org/officeDocument/2006/relationships/slideLayout" Target="../slideLayouts/slideLayout249.xml"/><Relationship Id="rId58" Type="http://schemas.openxmlformats.org/officeDocument/2006/relationships/slideLayout" Target="../slideLayouts/slideLayout254.xml"/><Relationship Id="rId66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01.xml"/><Relationship Id="rId61" Type="http://schemas.openxmlformats.org/officeDocument/2006/relationships/slideLayout" Target="../slideLayouts/slideLayout257.xml"/><Relationship Id="rId1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10.xml"/><Relationship Id="rId22" Type="http://schemas.openxmlformats.org/officeDocument/2006/relationships/slideLayout" Target="../slideLayouts/slideLayout218.xml"/><Relationship Id="rId27" Type="http://schemas.openxmlformats.org/officeDocument/2006/relationships/slideLayout" Target="../slideLayouts/slideLayout223.xml"/><Relationship Id="rId30" Type="http://schemas.openxmlformats.org/officeDocument/2006/relationships/slideLayout" Target="../slideLayouts/slideLayout226.xml"/><Relationship Id="rId35" Type="http://schemas.openxmlformats.org/officeDocument/2006/relationships/slideLayout" Target="../slideLayouts/slideLayout231.xml"/><Relationship Id="rId43" Type="http://schemas.openxmlformats.org/officeDocument/2006/relationships/slideLayout" Target="../slideLayouts/slideLayout239.xml"/><Relationship Id="rId48" Type="http://schemas.openxmlformats.org/officeDocument/2006/relationships/slideLayout" Target="../slideLayouts/slideLayout244.xml"/><Relationship Id="rId56" Type="http://schemas.openxmlformats.org/officeDocument/2006/relationships/slideLayout" Target="../slideLayouts/slideLayout252.xml"/><Relationship Id="rId64" Type="http://schemas.openxmlformats.org/officeDocument/2006/relationships/slideLayout" Target="../slideLayouts/slideLayout260.xml"/><Relationship Id="rId69" Type="http://schemas.openxmlformats.org/officeDocument/2006/relationships/slideLayout" Target="../slideLayouts/slideLayout265.xml"/><Relationship Id="rId8" Type="http://schemas.openxmlformats.org/officeDocument/2006/relationships/slideLayout" Target="../slideLayouts/slideLayout204.xml"/><Relationship Id="rId51" Type="http://schemas.openxmlformats.org/officeDocument/2006/relationships/slideLayout" Target="../slideLayouts/slideLayout247.xml"/><Relationship Id="rId72" Type="http://schemas.openxmlformats.org/officeDocument/2006/relationships/theme" Target="../theme/theme4.xml"/><Relationship Id="rId3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25" Type="http://schemas.openxmlformats.org/officeDocument/2006/relationships/slideLayout" Target="../slideLayouts/slideLayout221.xml"/><Relationship Id="rId33" Type="http://schemas.openxmlformats.org/officeDocument/2006/relationships/slideLayout" Target="../slideLayouts/slideLayout229.xml"/><Relationship Id="rId38" Type="http://schemas.openxmlformats.org/officeDocument/2006/relationships/slideLayout" Target="../slideLayouts/slideLayout234.xml"/><Relationship Id="rId46" Type="http://schemas.openxmlformats.org/officeDocument/2006/relationships/slideLayout" Target="../slideLayouts/slideLayout242.xml"/><Relationship Id="rId59" Type="http://schemas.openxmlformats.org/officeDocument/2006/relationships/slideLayout" Target="../slideLayouts/slideLayout255.xml"/><Relationship Id="rId67" Type="http://schemas.openxmlformats.org/officeDocument/2006/relationships/slideLayout" Target="../slideLayouts/slideLayout263.xml"/><Relationship Id="rId20" Type="http://schemas.openxmlformats.org/officeDocument/2006/relationships/slideLayout" Target="../slideLayouts/slideLayout216.xml"/><Relationship Id="rId41" Type="http://schemas.openxmlformats.org/officeDocument/2006/relationships/slideLayout" Target="../slideLayouts/slideLayout237.xml"/><Relationship Id="rId54" Type="http://schemas.openxmlformats.org/officeDocument/2006/relationships/slideLayout" Target="../slideLayouts/slideLayout250.xml"/><Relationship Id="rId62" Type="http://schemas.openxmlformats.org/officeDocument/2006/relationships/slideLayout" Target="../slideLayouts/slideLayout258.xml"/><Relationship Id="rId70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1.xml"/><Relationship Id="rId23" Type="http://schemas.openxmlformats.org/officeDocument/2006/relationships/slideLayout" Target="../slideLayouts/slideLayout219.xml"/><Relationship Id="rId28" Type="http://schemas.openxmlformats.org/officeDocument/2006/relationships/slideLayout" Target="../slideLayouts/slideLayout224.xml"/><Relationship Id="rId36" Type="http://schemas.openxmlformats.org/officeDocument/2006/relationships/slideLayout" Target="../slideLayouts/slideLayout232.xml"/><Relationship Id="rId49" Type="http://schemas.openxmlformats.org/officeDocument/2006/relationships/slideLayout" Target="../slideLayouts/slideLayout245.xml"/><Relationship Id="rId57" Type="http://schemas.openxmlformats.org/officeDocument/2006/relationships/slideLayout" Target="../slideLayouts/slideLayout253.xml"/><Relationship Id="rId10" Type="http://schemas.openxmlformats.org/officeDocument/2006/relationships/slideLayout" Target="../slideLayouts/slideLayout206.xml"/><Relationship Id="rId31" Type="http://schemas.openxmlformats.org/officeDocument/2006/relationships/slideLayout" Target="../slideLayouts/slideLayout227.xml"/><Relationship Id="rId44" Type="http://schemas.openxmlformats.org/officeDocument/2006/relationships/slideLayout" Target="../slideLayouts/slideLayout240.xml"/><Relationship Id="rId52" Type="http://schemas.openxmlformats.org/officeDocument/2006/relationships/slideLayout" Target="../slideLayouts/slideLayout248.xml"/><Relationship Id="rId60" Type="http://schemas.openxmlformats.org/officeDocument/2006/relationships/slideLayout" Target="../slideLayouts/slideLayout256.xml"/><Relationship Id="rId65" Type="http://schemas.openxmlformats.org/officeDocument/2006/relationships/slideLayout" Target="../slideLayouts/slideLayout261.xml"/><Relationship Id="rId73" Type="http://schemas.openxmlformats.org/officeDocument/2006/relationships/image" Target="../media/image4.emf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39" Type="http://schemas.openxmlformats.org/officeDocument/2006/relationships/slideLayout" Target="../slideLayouts/slideLayout235.xml"/><Relationship Id="rId34" Type="http://schemas.openxmlformats.org/officeDocument/2006/relationships/slideLayout" Target="../slideLayouts/slideLayout230.xml"/><Relationship Id="rId50" Type="http://schemas.openxmlformats.org/officeDocument/2006/relationships/slideLayout" Target="../slideLayouts/slideLayout246.xml"/><Relationship Id="rId55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03.xml"/><Relationship Id="rId71" Type="http://schemas.openxmlformats.org/officeDocument/2006/relationships/slideLayout" Target="../slideLayouts/slideLayout267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288.xml"/><Relationship Id="rId42" Type="http://schemas.openxmlformats.org/officeDocument/2006/relationships/slideLayout" Target="../slideLayouts/slideLayout309.xml"/><Relationship Id="rId47" Type="http://schemas.openxmlformats.org/officeDocument/2006/relationships/slideLayout" Target="../slideLayouts/slideLayout314.xml"/><Relationship Id="rId63" Type="http://schemas.openxmlformats.org/officeDocument/2006/relationships/slideLayout" Target="../slideLayouts/slideLayout330.xml"/><Relationship Id="rId68" Type="http://schemas.openxmlformats.org/officeDocument/2006/relationships/slideLayout" Target="../slideLayouts/slideLayout335.xml"/><Relationship Id="rId2" Type="http://schemas.openxmlformats.org/officeDocument/2006/relationships/slideLayout" Target="../slideLayouts/slideLayout269.xml"/><Relationship Id="rId16" Type="http://schemas.openxmlformats.org/officeDocument/2006/relationships/slideLayout" Target="../slideLayouts/slideLayout283.xml"/><Relationship Id="rId29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278.xml"/><Relationship Id="rId24" Type="http://schemas.openxmlformats.org/officeDocument/2006/relationships/slideLayout" Target="../slideLayouts/slideLayout291.xml"/><Relationship Id="rId32" Type="http://schemas.openxmlformats.org/officeDocument/2006/relationships/slideLayout" Target="../slideLayouts/slideLayout299.xml"/><Relationship Id="rId37" Type="http://schemas.openxmlformats.org/officeDocument/2006/relationships/slideLayout" Target="../slideLayouts/slideLayout304.xml"/><Relationship Id="rId40" Type="http://schemas.openxmlformats.org/officeDocument/2006/relationships/slideLayout" Target="../slideLayouts/slideLayout307.xml"/><Relationship Id="rId45" Type="http://schemas.openxmlformats.org/officeDocument/2006/relationships/slideLayout" Target="../slideLayouts/slideLayout312.xml"/><Relationship Id="rId53" Type="http://schemas.openxmlformats.org/officeDocument/2006/relationships/slideLayout" Target="../slideLayouts/slideLayout320.xml"/><Relationship Id="rId58" Type="http://schemas.openxmlformats.org/officeDocument/2006/relationships/slideLayout" Target="../slideLayouts/slideLayout325.xml"/><Relationship Id="rId66" Type="http://schemas.openxmlformats.org/officeDocument/2006/relationships/slideLayout" Target="../slideLayouts/slideLayout333.xml"/><Relationship Id="rId74" Type="http://schemas.openxmlformats.org/officeDocument/2006/relationships/theme" Target="../theme/theme5.xml"/><Relationship Id="rId5" Type="http://schemas.openxmlformats.org/officeDocument/2006/relationships/slideLayout" Target="../slideLayouts/slideLayout272.xml"/><Relationship Id="rId61" Type="http://schemas.openxmlformats.org/officeDocument/2006/relationships/slideLayout" Target="../slideLayouts/slideLayout328.xml"/><Relationship Id="rId19" Type="http://schemas.openxmlformats.org/officeDocument/2006/relationships/slideLayout" Target="../slideLayouts/slideLayout286.xml"/><Relationship Id="rId14" Type="http://schemas.openxmlformats.org/officeDocument/2006/relationships/slideLayout" Target="../slideLayouts/slideLayout281.xml"/><Relationship Id="rId22" Type="http://schemas.openxmlformats.org/officeDocument/2006/relationships/slideLayout" Target="../slideLayouts/slideLayout289.xml"/><Relationship Id="rId27" Type="http://schemas.openxmlformats.org/officeDocument/2006/relationships/slideLayout" Target="../slideLayouts/slideLayout294.xml"/><Relationship Id="rId30" Type="http://schemas.openxmlformats.org/officeDocument/2006/relationships/slideLayout" Target="../slideLayouts/slideLayout297.xml"/><Relationship Id="rId35" Type="http://schemas.openxmlformats.org/officeDocument/2006/relationships/slideLayout" Target="../slideLayouts/slideLayout302.xml"/><Relationship Id="rId43" Type="http://schemas.openxmlformats.org/officeDocument/2006/relationships/slideLayout" Target="../slideLayouts/slideLayout310.xml"/><Relationship Id="rId48" Type="http://schemas.openxmlformats.org/officeDocument/2006/relationships/slideLayout" Target="../slideLayouts/slideLayout315.xml"/><Relationship Id="rId56" Type="http://schemas.openxmlformats.org/officeDocument/2006/relationships/slideLayout" Target="../slideLayouts/slideLayout323.xml"/><Relationship Id="rId64" Type="http://schemas.openxmlformats.org/officeDocument/2006/relationships/slideLayout" Target="../slideLayouts/slideLayout331.xml"/><Relationship Id="rId69" Type="http://schemas.openxmlformats.org/officeDocument/2006/relationships/slideLayout" Target="../slideLayouts/slideLayout336.xml"/><Relationship Id="rId8" Type="http://schemas.openxmlformats.org/officeDocument/2006/relationships/slideLayout" Target="../slideLayouts/slideLayout275.xml"/><Relationship Id="rId51" Type="http://schemas.openxmlformats.org/officeDocument/2006/relationships/slideLayout" Target="../slideLayouts/slideLayout318.xml"/><Relationship Id="rId72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270.xml"/><Relationship Id="rId12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284.xml"/><Relationship Id="rId25" Type="http://schemas.openxmlformats.org/officeDocument/2006/relationships/slideLayout" Target="../slideLayouts/slideLayout292.xml"/><Relationship Id="rId33" Type="http://schemas.openxmlformats.org/officeDocument/2006/relationships/slideLayout" Target="../slideLayouts/slideLayout300.xml"/><Relationship Id="rId38" Type="http://schemas.openxmlformats.org/officeDocument/2006/relationships/slideLayout" Target="../slideLayouts/slideLayout305.xml"/><Relationship Id="rId46" Type="http://schemas.openxmlformats.org/officeDocument/2006/relationships/slideLayout" Target="../slideLayouts/slideLayout313.xml"/><Relationship Id="rId59" Type="http://schemas.openxmlformats.org/officeDocument/2006/relationships/slideLayout" Target="../slideLayouts/slideLayout326.xml"/><Relationship Id="rId67" Type="http://schemas.openxmlformats.org/officeDocument/2006/relationships/slideLayout" Target="../slideLayouts/slideLayout334.xml"/><Relationship Id="rId20" Type="http://schemas.openxmlformats.org/officeDocument/2006/relationships/slideLayout" Target="../slideLayouts/slideLayout287.xml"/><Relationship Id="rId41" Type="http://schemas.openxmlformats.org/officeDocument/2006/relationships/slideLayout" Target="../slideLayouts/slideLayout308.xml"/><Relationship Id="rId54" Type="http://schemas.openxmlformats.org/officeDocument/2006/relationships/slideLayout" Target="../slideLayouts/slideLayout321.xml"/><Relationship Id="rId62" Type="http://schemas.openxmlformats.org/officeDocument/2006/relationships/slideLayout" Target="../slideLayouts/slideLayout329.xml"/><Relationship Id="rId70" Type="http://schemas.openxmlformats.org/officeDocument/2006/relationships/slideLayout" Target="../slideLayouts/slideLayout337.xml"/><Relationship Id="rId75" Type="http://schemas.openxmlformats.org/officeDocument/2006/relationships/image" Target="../media/image4.emf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5" Type="http://schemas.openxmlformats.org/officeDocument/2006/relationships/slideLayout" Target="../slideLayouts/slideLayout282.xml"/><Relationship Id="rId23" Type="http://schemas.openxmlformats.org/officeDocument/2006/relationships/slideLayout" Target="../slideLayouts/slideLayout290.xml"/><Relationship Id="rId28" Type="http://schemas.openxmlformats.org/officeDocument/2006/relationships/slideLayout" Target="../slideLayouts/slideLayout295.xml"/><Relationship Id="rId36" Type="http://schemas.openxmlformats.org/officeDocument/2006/relationships/slideLayout" Target="../slideLayouts/slideLayout303.xml"/><Relationship Id="rId49" Type="http://schemas.openxmlformats.org/officeDocument/2006/relationships/slideLayout" Target="../slideLayouts/slideLayout316.xml"/><Relationship Id="rId57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277.xml"/><Relationship Id="rId31" Type="http://schemas.openxmlformats.org/officeDocument/2006/relationships/slideLayout" Target="../slideLayouts/slideLayout298.xml"/><Relationship Id="rId44" Type="http://schemas.openxmlformats.org/officeDocument/2006/relationships/slideLayout" Target="../slideLayouts/slideLayout311.xml"/><Relationship Id="rId52" Type="http://schemas.openxmlformats.org/officeDocument/2006/relationships/slideLayout" Target="../slideLayouts/slideLayout319.xml"/><Relationship Id="rId60" Type="http://schemas.openxmlformats.org/officeDocument/2006/relationships/slideLayout" Target="../slideLayouts/slideLayout327.xml"/><Relationship Id="rId65" Type="http://schemas.openxmlformats.org/officeDocument/2006/relationships/slideLayout" Target="../slideLayouts/slideLayout332.xml"/><Relationship Id="rId73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Relationship Id="rId13" Type="http://schemas.openxmlformats.org/officeDocument/2006/relationships/slideLayout" Target="../slideLayouts/slideLayout280.xml"/><Relationship Id="rId18" Type="http://schemas.openxmlformats.org/officeDocument/2006/relationships/slideLayout" Target="../slideLayouts/slideLayout285.xml"/><Relationship Id="rId39" Type="http://schemas.openxmlformats.org/officeDocument/2006/relationships/slideLayout" Target="../slideLayouts/slideLayout306.xml"/><Relationship Id="rId34" Type="http://schemas.openxmlformats.org/officeDocument/2006/relationships/slideLayout" Target="../slideLayouts/slideLayout301.xml"/><Relationship Id="rId50" Type="http://schemas.openxmlformats.org/officeDocument/2006/relationships/slideLayout" Target="../slideLayouts/slideLayout317.xml"/><Relationship Id="rId55" Type="http://schemas.openxmlformats.org/officeDocument/2006/relationships/slideLayout" Target="../slideLayouts/slideLayout322.xml"/><Relationship Id="rId7" Type="http://schemas.openxmlformats.org/officeDocument/2006/relationships/slideLayout" Target="../slideLayouts/slideLayout274.xml"/><Relationship Id="rId71" Type="http://schemas.openxmlformats.org/officeDocument/2006/relationships/slideLayout" Target="../slideLayouts/slideLayout338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66.xml"/><Relationship Id="rId21" Type="http://schemas.openxmlformats.org/officeDocument/2006/relationships/slideLayout" Target="../slideLayouts/slideLayout361.xml"/><Relationship Id="rId42" Type="http://schemas.openxmlformats.org/officeDocument/2006/relationships/slideLayout" Target="../slideLayouts/slideLayout382.xml"/><Relationship Id="rId47" Type="http://schemas.openxmlformats.org/officeDocument/2006/relationships/slideLayout" Target="../slideLayouts/slideLayout387.xml"/><Relationship Id="rId63" Type="http://schemas.openxmlformats.org/officeDocument/2006/relationships/slideLayout" Target="../slideLayouts/slideLayout403.xml"/><Relationship Id="rId68" Type="http://schemas.openxmlformats.org/officeDocument/2006/relationships/slideLayout" Target="../slideLayouts/slideLayout408.xml"/><Relationship Id="rId16" Type="http://schemas.openxmlformats.org/officeDocument/2006/relationships/slideLayout" Target="../slideLayouts/slideLayout356.xml"/><Relationship Id="rId11" Type="http://schemas.openxmlformats.org/officeDocument/2006/relationships/slideLayout" Target="../slideLayouts/slideLayout351.xml"/><Relationship Id="rId24" Type="http://schemas.openxmlformats.org/officeDocument/2006/relationships/slideLayout" Target="../slideLayouts/slideLayout364.xml"/><Relationship Id="rId32" Type="http://schemas.openxmlformats.org/officeDocument/2006/relationships/slideLayout" Target="../slideLayouts/slideLayout372.xml"/><Relationship Id="rId37" Type="http://schemas.openxmlformats.org/officeDocument/2006/relationships/slideLayout" Target="../slideLayouts/slideLayout377.xml"/><Relationship Id="rId40" Type="http://schemas.openxmlformats.org/officeDocument/2006/relationships/slideLayout" Target="../slideLayouts/slideLayout380.xml"/><Relationship Id="rId45" Type="http://schemas.openxmlformats.org/officeDocument/2006/relationships/slideLayout" Target="../slideLayouts/slideLayout385.xml"/><Relationship Id="rId53" Type="http://schemas.openxmlformats.org/officeDocument/2006/relationships/slideLayout" Target="../slideLayouts/slideLayout393.xml"/><Relationship Id="rId58" Type="http://schemas.openxmlformats.org/officeDocument/2006/relationships/slideLayout" Target="../slideLayouts/slideLayout398.xml"/><Relationship Id="rId66" Type="http://schemas.openxmlformats.org/officeDocument/2006/relationships/slideLayout" Target="../slideLayouts/slideLayout406.xml"/><Relationship Id="rId74" Type="http://schemas.openxmlformats.org/officeDocument/2006/relationships/slideLayout" Target="../slideLayouts/slideLayout414.xml"/><Relationship Id="rId5" Type="http://schemas.openxmlformats.org/officeDocument/2006/relationships/slideLayout" Target="../slideLayouts/slideLayout345.xml"/><Relationship Id="rId61" Type="http://schemas.openxmlformats.org/officeDocument/2006/relationships/slideLayout" Target="../slideLayouts/slideLayout401.xml"/><Relationship Id="rId19" Type="http://schemas.openxmlformats.org/officeDocument/2006/relationships/slideLayout" Target="../slideLayouts/slideLayout359.xml"/><Relationship Id="rId14" Type="http://schemas.openxmlformats.org/officeDocument/2006/relationships/slideLayout" Target="../slideLayouts/slideLayout354.xml"/><Relationship Id="rId22" Type="http://schemas.openxmlformats.org/officeDocument/2006/relationships/slideLayout" Target="../slideLayouts/slideLayout362.xml"/><Relationship Id="rId27" Type="http://schemas.openxmlformats.org/officeDocument/2006/relationships/slideLayout" Target="../slideLayouts/slideLayout367.xml"/><Relationship Id="rId30" Type="http://schemas.openxmlformats.org/officeDocument/2006/relationships/slideLayout" Target="../slideLayouts/slideLayout370.xml"/><Relationship Id="rId35" Type="http://schemas.openxmlformats.org/officeDocument/2006/relationships/slideLayout" Target="../slideLayouts/slideLayout375.xml"/><Relationship Id="rId43" Type="http://schemas.openxmlformats.org/officeDocument/2006/relationships/slideLayout" Target="../slideLayouts/slideLayout383.xml"/><Relationship Id="rId48" Type="http://schemas.openxmlformats.org/officeDocument/2006/relationships/slideLayout" Target="../slideLayouts/slideLayout388.xml"/><Relationship Id="rId56" Type="http://schemas.openxmlformats.org/officeDocument/2006/relationships/slideLayout" Target="../slideLayouts/slideLayout396.xml"/><Relationship Id="rId64" Type="http://schemas.openxmlformats.org/officeDocument/2006/relationships/slideLayout" Target="../slideLayouts/slideLayout404.xml"/><Relationship Id="rId69" Type="http://schemas.openxmlformats.org/officeDocument/2006/relationships/slideLayout" Target="../slideLayouts/slideLayout409.xml"/><Relationship Id="rId77" Type="http://schemas.openxmlformats.org/officeDocument/2006/relationships/theme" Target="../theme/theme6.xml"/><Relationship Id="rId8" Type="http://schemas.openxmlformats.org/officeDocument/2006/relationships/slideLayout" Target="../slideLayouts/slideLayout348.xml"/><Relationship Id="rId51" Type="http://schemas.openxmlformats.org/officeDocument/2006/relationships/slideLayout" Target="../slideLayouts/slideLayout391.xml"/><Relationship Id="rId72" Type="http://schemas.openxmlformats.org/officeDocument/2006/relationships/slideLayout" Target="../slideLayouts/slideLayout412.xml"/><Relationship Id="rId3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52.xml"/><Relationship Id="rId17" Type="http://schemas.openxmlformats.org/officeDocument/2006/relationships/slideLayout" Target="../slideLayouts/slideLayout357.xml"/><Relationship Id="rId25" Type="http://schemas.openxmlformats.org/officeDocument/2006/relationships/slideLayout" Target="../slideLayouts/slideLayout365.xml"/><Relationship Id="rId33" Type="http://schemas.openxmlformats.org/officeDocument/2006/relationships/slideLayout" Target="../slideLayouts/slideLayout373.xml"/><Relationship Id="rId38" Type="http://schemas.openxmlformats.org/officeDocument/2006/relationships/slideLayout" Target="../slideLayouts/slideLayout378.xml"/><Relationship Id="rId46" Type="http://schemas.openxmlformats.org/officeDocument/2006/relationships/slideLayout" Target="../slideLayouts/slideLayout386.xml"/><Relationship Id="rId59" Type="http://schemas.openxmlformats.org/officeDocument/2006/relationships/slideLayout" Target="../slideLayouts/slideLayout399.xml"/><Relationship Id="rId67" Type="http://schemas.openxmlformats.org/officeDocument/2006/relationships/slideLayout" Target="../slideLayouts/slideLayout407.xml"/><Relationship Id="rId20" Type="http://schemas.openxmlformats.org/officeDocument/2006/relationships/slideLayout" Target="../slideLayouts/slideLayout360.xml"/><Relationship Id="rId41" Type="http://schemas.openxmlformats.org/officeDocument/2006/relationships/slideLayout" Target="../slideLayouts/slideLayout381.xml"/><Relationship Id="rId54" Type="http://schemas.openxmlformats.org/officeDocument/2006/relationships/slideLayout" Target="../slideLayouts/slideLayout394.xml"/><Relationship Id="rId62" Type="http://schemas.openxmlformats.org/officeDocument/2006/relationships/slideLayout" Target="../slideLayouts/slideLayout402.xml"/><Relationship Id="rId70" Type="http://schemas.openxmlformats.org/officeDocument/2006/relationships/slideLayout" Target="../slideLayouts/slideLayout410.xml"/><Relationship Id="rId75" Type="http://schemas.openxmlformats.org/officeDocument/2006/relationships/slideLayout" Target="../slideLayouts/slideLayout415.xml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5" Type="http://schemas.openxmlformats.org/officeDocument/2006/relationships/slideLayout" Target="../slideLayouts/slideLayout355.xml"/><Relationship Id="rId23" Type="http://schemas.openxmlformats.org/officeDocument/2006/relationships/slideLayout" Target="../slideLayouts/slideLayout363.xml"/><Relationship Id="rId28" Type="http://schemas.openxmlformats.org/officeDocument/2006/relationships/slideLayout" Target="../slideLayouts/slideLayout368.xml"/><Relationship Id="rId36" Type="http://schemas.openxmlformats.org/officeDocument/2006/relationships/slideLayout" Target="../slideLayouts/slideLayout376.xml"/><Relationship Id="rId49" Type="http://schemas.openxmlformats.org/officeDocument/2006/relationships/slideLayout" Target="../slideLayouts/slideLayout389.xml"/><Relationship Id="rId57" Type="http://schemas.openxmlformats.org/officeDocument/2006/relationships/slideLayout" Target="../slideLayouts/slideLayout397.xml"/><Relationship Id="rId10" Type="http://schemas.openxmlformats.org/officeDocument/2006/relationships/slideLayout" Target="../slideLayouts/slideLayout350.xml"/><Relationship Id="rId31" Type="http://schemas.openxmlformats.org/officeDocument/2006/relationships/slideLayout" Target="../slideLayouts/slideLayout371.xml"/><Relationship Id="rId44" Type="http://schemas.openxmlformats.org/officeDocument/2006/relationships/slideLayout" Target="../slideLayouts/slideLayout384.xml"/><Relationship Id="rId52" Type="http://schemas.openxmlformats.org/officeDocument/2006/relationships/slideLayout" Target="../slideLayouts/slideLayout392.xml"/><Relationship Id="rId60" Type="http://schemas.openxmlformats.org/officeDocument/2006/relationships/slideLayout" Target="../slideLayouts/slideLayout400.xml"/><Relationship Id="rId65" Type="http://schemas.openxmlformats.org/officeDocument/2006/relationships/slideLayout" Target="../slideLayouts/slideLayout405.xml"/><Relationship Id="rId73" Type="http://schemas.openxmlformats.org/officeDocument/2006/relationships/slideLayout" Target="../slideLayouts/slideLayout413.xml"/><Relationship Id="rId78" Type="http://schemas.openxmlformats.org/officeDocument/2006/relationships/image" Target="../media/image4.emf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Relationship Id="rId13" Type="http://schemas.openxmlformats.org/officeDocument/2006/relationships/slideLayout" Target="../slideLayouts/slideLayout353.xml"/><Relationship Id="rId18" Type="http://schemas.openxmlformats.org/officeDocument/2006/relationships/slideLayout" Target="../slideLayouts/slideLayout358.xml"/><Relationship Id="rId39" Type="http://schemas.openxmlformats.org/officeDocument/2006/relationships/slideLayout" Target="../slideLayouts/slideLayout379.xml"/><Relationship Id="rId34" Type="http://schemas.openxmlformats.org/officeDocument/2006/relationships/slideLayout" Target="../slideLayouts/slideLayout374.xml"/><Relationship Id="rId50" Type="http://schemas.openxmlformats.org/officeDocument/2006/relationships/slideLayout" Target="../slideLayouts/slideLayout390.xml"/><Relationship Id="rId55" Type="http://schemas.openxmlformats.org/officeDocument/2006/relationships/slideLayout" Target="../slideLayouts/slideLayout395.xml"/><Relationship Id="rId76" Type="http://schemas.openxmlformats.org/officeDocument/2006/relationships/slideLayout" Target="../slideLayouts/slideLayout416.xml"/><Relationship Id="rId7" Type="http://schemas.openxmlformats.org/officeDocument/2006/relationships/slideLayout" Target="../slideLayouts/slideLayout347.xml"/><Relationship Id="rId71" Type="http://schemas.openxmlformats.org/officeDocument/2006/relationships/slideLayout" Target="../slideLayouts/slideLayout411.xml"/><Relationship Id="rId2" Type="http://schemas.openxmlformats.org/officeDocument/2006/relationships/slideLayout" Target="../slideLayouts/slideLayout342.xml"/><Relationship Id="rId29" Type="http://schemas.openxmlformats.org/officeDocument/2006/relationships/slideLayout" Target="../slideLayouts/slideLayout369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42.xml"/><Relationship Id="rId117" Type="http://schemas.openxmlformats.org/officeDocument/2006/relationships/image" Target="../media/image51.emf"/><Relationship Id="rId21" Type="http://schemas.openxmlformats.org/officeDocument/2006/relationships/slideLayout" Target="../slideLayouts/slideLayout437.xml"/><Relationship Id="rId42" Type="http://schemas.openxmlformats.org/officeDocument/2006/relationships/slideLayout" Target="../slideLayouts/slideLayout458.xml"/><Relationship Id="rId47" Type="http://schemas.openxmlformats.org/officeDocument/2006/relationships/slideLayout" Target="../slideLayouts/slideLayout463.xml"/><Relationship Id="rId63" Type="http://schemas.openxmlformats.org/officeDocument/2006/relationships/slideLayout" Target="../slideLayouts/slideLayout479.xml"/><Relationship Id="rId68" Type="http://schemas.openxmlformats.org/officeDocument/2006/relationships/slideLayout" Target="../slideLayouts/slideLayout484.xml"/><Relationship Id="rId84" Type="http://schemas.openxmlformats.org/officeDocument/2006/relationships/slideLayout" Target="../slideLayouts/slideLayout500.xml"/><Relationship Id="rId89" Type="http://schemas.openxmlformats.org/officeDocument/2006/relationships/slideLayout" Target="../slideLayouts/slideLayout505.xml"/><Relationship Id="rId112" Type="http://schemas.openxmlformats.org/officeDocument/2006/relationships/slideLayout" Target="../slideLayouts/slideLayout528.xml"/><Relationship Id="rId16" Type="http://schemas.openxmlformats.org/officeDocument/2006/relationships/slideLayout" Target="../slideLayouts/slideLayout432.xml"/><Relationship Id="rId107" Type="http://schemas.openxmlformats.org/officeDocument/2006/relationships/slideLayout" Target="../slideLayouts/slideLayout523.xml"/><Relationship Id="rId11" Type="http://schemas.openxmlformats.org/officeDocument/2006/relationships/slideLayout" Target="../slideLayouts/slideLayout427.xml"/><Relationship Id="rId32" Type="http://schemas.openxmlformats.org/officeDocument/2006/relationships/slideLayout" Target="../slideLayouts/slideLayout448.xml"/><Relationship Id="rId37" Type="http://schemas.openxmlformats.org/officeDocument/2006/relationships/slideLayout" Target="../slideLayouts/slideLayout453.xml"/><Relationship Id="rId53" Type="http://schemas.openxmlformats.org/officeDocument/2006/relationships/slideLayout" Target="../slideLayouts/slideLayout469.xml"/><Relationship Id="rId58" Type="http://schemas.openxmlformats.org/officeDocument/2006/relationships/slideLayout" Target="../slideLayouts/slideLayout474.xml"/><Relationship Id="rId74" Type="http://schemas.openxmlformats.org/officeDocument/2006/relationships/slideLayout" Target="../slideLayouts/slideLayout490.xml"/><Relationship Id="rId79" Type="http://schemas.openxmlformats.org/officeDocument/2006/relationships/slideLayout" Target="../slideLayouts/slideLayout495.xml"/><Relationship Id="rId102" Type="http://schemas.openxmlformats.org/officeDocument/2006/relationships/slideLayout" Target="../slideLayouts/slideLayout518.xml"/><Relationship Id="rId5" Type="http://schemas.openxmlformats.org/officeDocument/2006/relationships/slideLayout" Target="../slideLayouts/slideLayout421.xml"/><Relationship Id="rId90" Type="http://schemas.openxmlformats.org/officeDocument/2006/relationships/slideLayout" Target="../slideLayouts/slideLayout506.xml"/><Relationship Id="rId95" Type="http://schemas.openxmlformats.org/officeDocument/2006/relationships/slideLayout" Target="../slideLayouts/slideLayout511.xml"/><Relationship Id="rId22" Type="http://schemas.openxmlformats.org/officeDocument/2006/relationships/slideLayout" Target="../slideLayouts/slideLayout438.xml"/><Relationship Id="rId27" Type="http://schemas.openxmlformats.org/officeDocument/2006/relationships/slideLayout" Target="../slideLayouts/slideLayout443.xml"/><Relationship Id="rId43" Type="http://schemas.openxmlformats.org/officeDocument/2006/relationships/slideLayout" Target="../slideLayouts/slideLayout459.xml"/><Relationship Id="rId48" Type="http://schemas.openxmlformats.org/officeDocument/2006/relationships/slideLayout" Target="../slideLayouts/slideLayout464.xml"/><Relationship Id="rId64" Type="http://schemas.openxmlformats.org/officeDocument/2006/relationships/slideLayout" Target="../slideLayouts/slideLayout480.xml"/><Relationship Id="rId69" Type="http://schemas.openxmlformats.org/officeDocument/2006/relationships/slideLayout" Target="../slideLayouts/slideLayout485.xml"/><Relationship Id="rId113" Type="http://schemas.openxmlformats.org/officeDocument/2006/relationships/slideLayout" Target="../slideLayouts/slideLayout529.xml"/><Relationship Id="rId118" Type="http://schemas.openxmlformats.org/officeDocument/2006/relationships/image" Target="../media/image4.emf"/><Relationship Id="rId80" Type="http://schemas.openxmlformats.org/officeDocument/2006/relationships/slideLayout" Target="../slideLayouts/slideLayout496.xml"/><Relationship Id="rId85" Type="http://schemas.openxmlformats.org/officeDocument/2006/relationships/slideLayout" Target="../slideLayouts/slideLayout501.xml"/><Relationship Id="rId12" Type="http://schemas.openxmlformats.org/officeDocument/2006/relationships/slideLayout" Target="../slideLayouts/slideLayout428.xml"/><Relationship Id="rId17" Type="http://schemas.openxmlformats.org/officeDocument/2006/relationships/slideLayout" Target="../slideLayouts/slideLayout433.xml"/><Relationship Id="rId33" Type="http://schemas.openxmlformats.org/officeDocument/2006/relationships/slideLayout" Target="../slideLayouts/slideLayout449.xml"/><Relationship Id="rId38" Type="http://schemas.openxmlformats.org/officeDocument/2006/relationships/slideLayout" Target="../slideLayouts/slideLayout454.xml"/><Relationship Id="rId59" Type="http://schemas.openxmlformats.org/officeDocument/2006/relationships/slideLayout" Target="../slideLayouts/slideLayout475.xml"/><Relationship Id="rId103" Type="http://schemas.openxmlformats.org/officeDocument/2006/relationships/slideLayout" Target="../slideLayouts/slideLayout519.xml"/><Relationship Id="rId108" Type="http://schemas.openxmlformats.org/officeDocument/2006/relationships/slideLayout" Target="../slideLayouts/slideLayout524.xml"/><Relationship Id="rId54" Type="http://schemas.openxmlformats.org/officeDocument/2006/relationships/slideLayout" Target="../slideLayouts/slideLayout470.xml"/><Relationship Id="rId70" Type="http://schemas.openxmlformats.org/officeDocument/2006/relationships/slideLayout" Target="../slideLayouts/slideLayout486.xml"/><Relationship Id="rId75" Type="http://schemas.openxmlformats.org/officeDocument/2006/relationships/slideLayout" Target="../slideLayouts/slideLayout491.xml"/><Relationship Id="rId91" Type="http://schemas.openxmlformats.org/officeDocument/2006/relationships/slideLayout" Target="../slideLayouts/slideLayout507.xml"/><Relationship Id="rId96" Type="http://schemas.openxmlformats.org/officeDocument/2006/relationships/slideLayout" Target="../slideLayouts/slideLayout512.xml"/><Relationship Id="rId1" Type="http://schemas.openxmlformats.org/officeDocument/2006/relationships/slideLayout" Target="../slideLayouts/slideLayout417.xml"/><Relationship Id="rId6" Type="http://schemas.openxmlformats.org/officeDocument/2006/relationships/slideLayout" Target="../slideLayouts/slideLayout422.xml"/><Relationship Id="rId23" Type="http://schemas.openxmlformats.org/officeDocument/2006/relationships/slideLayout" Target="../slideLayouts/slideLayout439.xml"/><Relationship Id="rId28" Type="http://schemas.openxmlformats.org/officeDocument/2006/relationships/slideLayout" Target="../slideLayouts/slideLayout444.xml"/><Relationship Id="rId49" Type="http://schemas.openxmlformats.org/officeDocument/2006/relationships/slideLayout" Target="../slideLayouts/slideLayout465.xml"/><Relationship Id="rId114" Type="http://schemas.openxmlformats.org/officeDocument/2006/relationships/theme" Target="../theme/theme7.xml"/><Relationship Id="rId10" Type="http://schemas.openxmlformats.org/officeDocument/2006/relationships/slideLayout" Target="../slideLayouts/slideLayout426.xml"/><Relationship Id="rId31" Type="http://schemas.openxmlformats.org/officeDocument/2006/relationships/slideLayout" Target="../slideLayouts/slideLayout447.xml"/><Relationship Id="rId44" Type="http://schemas.openxmlformats.org/officeDocument/2006/relationships/slideLayout" Target="../slideLayouts/slideLayout460.xml"/><Relationship Id="rId52" Type="http://schemas.openxmlformats.org/officeDocument/2006/relationships/slideLayout" Target="../slideLayouts/slideLayout468.xml"/><Relationship Id="rId60" Type="http://schemas.openxmlformats.org/officeDocument/2006/relationships/slideLayout" Target="../slideLayouts/slideLayout476.xml"/><Relationship Id="rId65" Type="http://schemas.openxmlformats.org/officeDocument/2006/relationships/slideLayout" Target="../slideLayouts/slideLayout481.xml"/><Relationship Id="rId73" Type="http://schemas.openxmlformats.org/officeDocument/2006/relationships/slideLayout" Target="../slideLayouts/slideLayout489.xml"/><Relationship Id="rId78" Type="http://schemas.openxmlformats.org/officeDocument/2006/relationships/slideLayout" Target="../slideLayouts/slideLayout494.xml"/><Relationship Id="rId81" Type="http://schemas.openxmlformats.org/officeDocument/2006/relationships/slideLayout" Target="../slideLayouts/slideLayout497.xml"/><Relationship Id="rId86" Type="http://schemas.openxmlformats.org/officeDocument/2006/relationships/slideLayout" Target="../slideLayouts/slideLayout502.xml"/><Relationship Id="rId94" Type="http://schemas.openxmlformats.org/officeDocument/2006/relationships/slideLayout" Target="../slideLayouts/slideLayout510.xml"/><Relationship Id="rId99" Type="http://schemas.openxmlformats.org/officeDocument/2006/relationships/slideLayout" Target="../slideLayouts/slideLayout515.xml"/><Relationship Id="rId101" Type="http://schemas.openxmlformats.org/officeDocument/2006/relationships/slideLayout" Target="../slideLayouts/slideLayout517.xml"/><Relationship Id="rId4" Type="http://schemas.openxmlformats.org/officeDocument/2006/relationships/slideLayout" Target="../slideLayouts/slideLayout420.xml"/><Relationship Id="rId9" Type="http://schemas.openxmlformats.org/officeDocument/2006/relationships/slideLayout" Target="../slideLayouts/slideLayout425.xml"/><Relationship Id="rId13" Type="http://schemas.openxmlformats.org/officeDocument/2006/relationships/slideLayout" Target="../slideLayouts/slideLayout429.xml"/><Relationship Id="rId18" Type="http://schemas.openxmlformats.org/officeDocument/2006/relationships/slideLayout" Target="../slideLayouts/slideLayout434.xml"/><Relationship Id="rId39" Type="http://schemas.openxmlformats.org/officeDocument/2006/relationships/slideLayout" Target="../slideLayouts/slideLayout455.xml"/><Relationship Id="rId109" Type="http://schemas.openxmlformats.org/officeDocument/2006/relationships/slideLayout" Target="../slideLayouts/slideLayout525.xml"/><Relationship Id="rId34" Type="http://schemas.openxmlformats.org/officeDocument/2006/relationships/slideLayout" Target="../slideLayouts/slideLayout450.xml"/><Relationship Id="rId50" Type="http://schemas.openxmlformats.org/officeDocument/2006/relationships/slideLayout" Target="../slideLayouts/slideLayout466.xml"/><Relationship Id="rId55" Type="http://schemas.openxmlformats.org/officeDocument/2006/relationships/slideLayout" Target="../slideLayouts/slideLayout471.xml"/><Relationship Id="rId76" Type="http://schemas.openxmlformats.org/officeDocument/2006/relationships/slideLayout" Target="../slideLayouts/slideLayout492.xml"/><Relationship Id="rId97" Type="http://schemas.openxmlformats.org/officeDocument/2006/relationships/slideLayout" Target="../slideLayouts/slideLayout513.xml"/><Relationship Id="rId104" Type="http://schemas.openxmlformats.org/officeDocument/2006/relationships/slideLayout" Target="../slideLayouts/slideLayout520.xml"/><Relationship Id="rId7" Type="http://schemas.openxmlformats.org/officeDocument/2006/relationships/slideLayout" Target="../slideLayouts/slideLayout423.xml"/><Relationship Id="rId71" Type="http://schemas.openxmlformats.org/officeDocument/2006/relationships/slideLayout" Target="../slideLayouts/slideLayout487.xml"/><Relationship Id="rId92" Type="http://schemas.openxmlformats.org/officeDocument/2006/relationships/slideLayout" Target="../slideLayouts/slideLayout508.xml"/><Relationship Id="rId2" Type="http://schemas.openxmlformats.org/officeDocument/2006/relationships/slideLayout" Target="../slideLayouts/slideLayout418.xml"/><Relationship Id="rId29" Type="http://schemas.openxmlformats.org/officeDocument/2006/relationships/slideLayout" Target="../slideLayouts/slideLayout445.xml"/><Relationship Id="rId24" Type="http://schemas.openxmlformats.org/officeDocument/2006/relationships/slideLayout" Target="../slideLayouts/slideLayout440.xml"/><Relationship Id="rId40" Type="http://schemas.openxmlformats.org/officeDocument/2006/relationships/slideLayout" Target="../slideLayouts/slideLayout456.xml"/><Relationship Id="rId45" Type="http://schemas.openxmlformats.org/officeDocument/2006/relationships/slideLayout" Target="../slideLayouts/slideLayout461.xml"/><Relationship Id="rId66" Type="http://schemas.openxmlformats.org/officeDocument/2006/relationships/slideLayout" Target="../slideLayouts/slideLayout482.xml"/><Relationship Id="rId87" Type="http://schemas.openxmlformats.org/officeDocument/2006/relationships/slideLayout" Target="../slideLayouts/slideLayout503.xml"/><Relationship Id="rId110" Type="http://schemas.openxmlformats.org/officeDocument/2006/relationships/slideLayout" Target="../slideLayouts/slideLayout526.xml"/><Relationship Id="rId115" Type="http://schemas.openxmlformats.org/officeDocument/2006/relationships/tags" Target="../tags/tag1.xml"/><Relationship Id="rId61" Type="http://schemas.openxmlformats.org/officeDocument/2006/relationships/slideLayout" Target="../slideLayouts/slideLayout477.xml"/><Relationship Id="rId82" Type="http://schemas.openxmlformats.org/officeDocument/2006/relationships/slideLayout" Target="../slideLayouts/slideLayout498.xml"/><Relationship Id="rId19" Type="http://schemas.openxmlformats.org/officeDocument/2006/relationships/slideLayout" Target="../slideLayouts/slideLayout435.xml"/><Relationship Id="rId14" Type="http://schemas.openxmlformats.org/officeDocument/2006/relationships/slideLayout" Target="../slideLayouts/slideLayout430.xml"/><Relationship Id="rId30" Type="http://schemas.openxmlformats.org/officeDocument/2006/relationships/slideLayout" Target="../slideLayouts/slideLayout446.xml"/><Relationship Id="rId35" Type="http://schemas.openxmlformats.org/officeDocument/2006/relationships/slideLayout" Target="../slideLayouts/slideLayout451.xml"/><Relationship Id="rId56" Type="http://schemas.openxmlformats.org/officeDocument/2006/relationships/slideLayout" Target="../slideLayouts/slideLayout472.xml"/><Relationship Id="rId77" Type="http://schemas.openxmlformats.org/officeDocument/2006/relationships/slideLayout" Target="../slideLayouts/slideLayout493.xml"/><Relationship Id="rId100" Type="http://schemas.openxmlformats.org/officeDocument/2006/relationships/slideLayout" Target="../slideLayouts/slideLayout516.xml"/><Relationship Id="rId105" Type="http://schemas.openxmlformats.org/officeDocument/2006/relationships/slideLayout" Target="../slideLayouts/slideLayout521.xml"/><Relationship Id="rId8" Type="http://schemas.openxmlformats.org/officeDocument/2006/relationships/slideLayout" Target="../slideLayouts/slideLayout424.xml"/><Relationship Id="rId51" Type="http://schemas.openxmlformats.org/officeDocument/2006/relationships/slideLayout" Target="../slideLayouts/slideLayout467.xml"/><Relationship Id="rId72" Type="http://schemas.openxmlformats.org/officeDocument/2006/relationships/slideLayout" Target="../slideLayouts/slideLayout488.xml"/><Relationship Id="rId93" Type="http://schemas.openxmlformats.org/officeDocument/2006/relationships/slideLayout" Target="../slideLayouts/slideLayout509.xml"/><Relationship Id="rId98" Type="http://schemas.openxmlformats.org/officeDocument/2006/relationships/slideLayout" Target="../slideLayouts/slideLayout514.xml"/><Relationship Id="rId3" Type="http://schemas.openxmlformats.org/officeDocument/2006/relationships/slideLayout" Target="../slideLayouts/slideLayout419.xml"/><Relationship Id="rId25" Type="http://schemas.openxmlformats.org/officeDocument/2006/relationships/slideLayout" Target="../slideLayouts/slideLayout441.xml"/><Relationship Id="rId46" Type="http://schemas.openxmlformats.org/officeDocument/2006/relationships/slideLayout" Target="../slideLayouts/slideLayout462.xml"/><Relationship Id="rId67" Type="http://schemas.openxmlformats.org/officeDocument/2006/relationships/slideLayout" Target="../slideLayouts/slideLayout483.xml"/><Relationship Id="rId116" Type="http://schemas.openxmlformats.org/officeDocument/2006/relationships/oleObject" Target="../embeddings/oleObject1.bin"/><Relationship Id="rId20" Type="http://schemas.openxmlformats.org/officeDocument/2006/relationships/slideLayout" Target="../slideLayouts/slideLayout436.xml"/><Relationship Id="rId41" Type="http://schemas.openxmlformats.org/officeDocument/2006/relationships/slideLayout" Target="../slideLayouts/slideLayout457.xml"/><Relationship Id="rId62" Type="http://schemas.openxmlformats.org/officeDocument/2006/relationships/slideLayout" Target="../slideLayouts/slideLayout478.xml"/><Relationship Id="rId83" Type="http://schemas.openxmlformats.org/officeDocument/2006/relationships/slideLayout" Target="../slideLayouts/slideLayout499.xml"/><Relationship Id="rId88" Type="http://schemas.openxmlformats.org/officeDocument/2006/relationships/slideLayout" Target="../slideLayouts/slideLayout504.xml"/><Relationship Id="rId111" Type="http://schemas.openxmlformats.org/officeDocument/2006/relationships/slideLayout" Target="../slideLayouts/slideLayout527.xml"/><Relationship Id="rId15" Type="http://schemas.openxmlformats.org/officeDocument/2006/relationships/slideLayout" Target="../slideLayouts/slideLayout431.xml"/><Relationship Id="rId36" Type="http://schemas.openxmlformats.org/officeDocument/2006/relationships/slideLayout" Target="../slideLayouts/slideLayout452.xml"/><Relationship Id="rId57" Type="http://schemas.openxmlformats.org/officeDocument/2006/relationships/slideLayout" Target="../slideLayouts/slideLayout473.xml"/><Relationship Id="rId106" Type="http://schemas.openxmlformats.org/officeDocument/2006/relationships/slideLayout" Target="../slideLayouts/slideLayout522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2.xml"/><Relationship Id="rId18" Type="http://schemas.openxmlformats.org/officeDocument/2006/relationships/slideLayout" Target="../slideLayouts/slideLayout547.xml"/><Relationship Id="rId26" Type="http://schemas.openxmlformats.org/officeDocument/2006/relationships/slideLayout" Target="../slideLayouts/slideLayout555.xml"/><Relationship Id="rId39" Type="http://schemas.openxmlformats.org/officeDocument/2006/relationships/slideLayout" Target="../slideLayouts/slideLayout568.xml"/><Relationship Id="rId21" Type="http://schemas.openxmlformats.org/officeDocument/2006/relationships/slideLayout" Target="../slideLayouts/slideLayout550.xml"/><Relationship Id="rId34" Type="http://schemas.openxmlformats.org/officeDocument/2006/relationships/slideLayout" Target="../slideLayouts/slideLayout563.xml"/><Relationship Id="rId42" Type="http://schemas.openxmlformats.org/officeDocument/2006/relationships/slideLayout" Target="../slideLayouts/slideLayout571.xml"/><Relationship Id="rId47" Type="http://schemas.openxmlformats.org/officeDocument/2006/relationships/slideLayout" Target="../slideLayouts/slideLayout576.xml"/><Relationship Id="rId50" Type="http://schemas.openxmlformats.org/officeDocument/2006/relationships/slideLayout" Target="../slideLayouts/slideLayout579.xml"/><Relationship Id="rId55" Type="http://schemas.openxmlformats.org/officeDocument/2006/relationships/slideLayout" Target="../slideLayouts/slideLayout584.xml"/><Relationship Id="rId7" Type="http://schemas.openxmlformats.org/officeDocument/2006/relationships/slideLayout" Target="../slideLayouts/slideLayout536.xml"/><Relationship Id="rId2" Type="http://schemas.openxmlformats.org/officeDocument/2006/relationships/slideLayout" Target="../slideLayouts/slideLayout531.xml"/><Relationship Id="rId16" Type="http://schemas.openxmlformats.org/officeDocument/2006/relationships/slideLayout" Target="../slideLayouts/slideLayout545.xml"/><Relationship Id="rId29" Type="http://schemas.openxmlformats.org/officeDocument/2006/relationships/slideLayout" Target="../slideLayouts/slideLayout558.xml"/><Relationship Id="rId11" Type="http://schemas.openxmlformats.org/officeDocument/2006/relationships/slideLayout" Target="../slideLayouts/slideLayout540.xml"/><Relationship Id="rId24" Type="http://schemas.openxmlformats.org/officeDocument/2006/relationships/slideLayout" Target="../slideLayouts/slideLayout553.xml"/><Relationship Id="rId32" Type="http://schemas.openxmlformats.org/officeDocument/2006/relationships/slideLayout" Target="../slideLayouts/slideLayout561.xml"/><Relationship Id="rId37" Type="http://schemas.openxmlformats.org/officeDocument/2006/relationships/slideLayout" Target="../slideLayouts/slideLayout566.xml"/><Relationship Id="rId40" Type="http://schemas.openxmlformats.org/officeDocument/2006/relationships/slideLayout" Target="../slideLayouts/slideLayout569.xml"/><Relationship Id="rId45" Type="http://schemas.openxmlformats.org/officeDocument/2006/relationships/slideLayout" Target="../slideLayouts/slideLayout574.xml"/><Relationship Id="rId53" Type="http://schemas.openxmlformats.org/officeDocument/2006/relationships/slideLayout" Target="../slideLayouts/slideLayout582.xml"/><Relationship Id="rId58" Type="http://schemas.openxmlformats.org/officeDocument/2006/relationships/tags" Target="../tags/tag4.xml"/><Relationship Id="rId5" Type="http://schemas.openxmlformats.org/officeDocument/2006/relationships/slideLayout" Target="../slideLayouts/slideLayout534.xml"/><Relationship Id="rId19" Type="http://schemas.openxmlformats.org/officeDocument/2006/relationships/slideLayout" Target="../slideLayouts/slideLayout548.xml"/><Relationship Id="rId4" Type="http://schemas.openxmlformats.org/officeDocument/2006/relationships/slideLayout" Target="../slideLayouts/slideLayout533.xml"/><Relationship Id="rId9" Type="http://schemas.openxmlformats.org/officeDocument/2006/relationships/slideLayout" Target="../slideLayouts/slideLayout538.xml"/><Relationship Id="rId14" Type="http://schemas.openxmlformats.org/officeDocument/2006/relationships/slideLayout" Target="../slideLayouts/slideLayout543.xml"/><Relationship Id="rId22" Type="http://schemas.openxmlformats.org/officeDocument/2006/relationships/slideLayout" Target="../slideLayouts/slideLayout551.xml"/><Relationship Id="rId27" Type="http://schemas.openxmlformats.org/officeDocument/2006/relationships/slideLayout" Target="../slideLayouts/slideLayout556.xml"/><Relationship Id="rId30" Type="http://schemas.openxmlformats.org/officeDocument/2006/relationships/slideLayout" Target="../slideLayouts/slideLayout559.xml"/><Relationship Id="rId35" Type="http://schemas.openxmlformats.org/officeDocument/2006/relationships/slideLayout" Target="../slideLayouts/slideLayout564.xml"/><Relationship Id="rId43" Type="http://schemas.openxmlformats.org/officeDocument/2006/relationships/slideLayout" Target="../slideLayouts/slideLayout572.xml"/><Relationship Id="rId48" Type="http://schemas.openxmlformats.org/officeDocument/2006/relationships/slideLayout" Target="../slideLayouts/slideLayout577.xml"/><Relationship Id="rId56" Type="http://schemas.openxmlformats.org/officeDocument/2006/relationships/slideLayout" Target="../slideLayouts/slideLayout585.xml"/><Relationship Id="rId8" Type="http://schemas.openxmlformats.org/officeDocument/2006/relationships/slideLayout" Target="../slideLayouts/slideLayout537.xml"/><Relationship Id="rId51" Type="http://schemas.openxmlformats.org/officeDocument/2006/relationships/slideLayout" Target="../slideLayouts/slideLayout580.xml"/><Relationship Id="rId3" Type="http://schemas.openxmlformats.org/officeDocument/2006/relationships/slideLayout" Target="../slideLayouts/slideLayout532.xml"/><Relationship Id="rId12" Type="http://schemas.openxmlformats.org/officeDocument/2006/relationships/slideLayout" Target="../slideLayouts/slideLayout541.xml"/><Relationship Id="rId17" Type="http://schemas.openxmlformats.org/officeDocument/2006/relationships/slideLayout" Target="../slideLayouts/slideLayout546.xml"/><Relationship Id="rId25" Type="http://schemas.openxmlformats.org/officeDocument/2006/relationships/slideLayout" Target="../slideLayouts/slideLayout554.xml"/><Relationship Id="rId33" Type="http://schemas.openxmlformats.org/officeDocument/2006/relationships/slideLayout" Target="../slideLayouts/slideLayout562.xml"/><Relationship Id="rId38" Type="http://schemas.openxmlformats.org/officeDocument/2006/relationships/slideLayout" Target="../slideLayouts/slideLayout567.xml"/><Relationship Id="rId46" Type="http://schemas.openxmlformats.org/officeDocument/2006/relationships/slideLayout" Target="../slideLayouts/slideLayout575.xml"/><Relationship Id="rId59" Type="http://schemas.openxmlformats.org/officeDocument/2006/relationships/image" Target="../media/image1.png"/><Relationship Id="rId20" Type="http://schemas.openxmlformats.org/officeDocument/2006/relationships/slideLayout" Target="../slideLayouts/slideLayout549.xml"/><Relationship Id="rId41" Type="http://schemas.openxmlformats.org/officeDocument/2006/relationships/slideLayout" Target="../slideLayouts/slideLayout570.xml"/><Relationship Id="rId54" Type="http://schemas.openxmlformats.org/officeDocument/2006/relationships/slideLayout" Target="../slideLayouts/slideLayout583.xml"/><Relationship Id="rId1" Type="http://schemas.openxmlformats.org/officeDocument/2006/relationships/slideLayout" Target="../slideLayouts/slideLayout530.xml"/><Relationship Id="rId6" Type="http://schemas.openxmlformats.org/officeDocument/2006/relationships/slideLayout" Target="../slideLayouts/slideLayout535.xml"/><Relationship Id="rId15" Type="http://schemas.openxmlformats.org/officeDocument/2006/relationships/slideLayout" Target="../slideLayouts/slideLayout544.xml"/><Relationship Id="rId23" Type="http://schemas.openxmlformats.org/officeDocument/2006/relationships/slideLayout" Target="../slideLayouts/slideLayout552.xml"/><Relationship Id="rId28" Type="http://schemas.openxmlformats.org/officeDocument/2006/relationships/slideLayout" Target="../slideLayouts/slideLayout557.xml"/><Relationship Id="rId36" Type="http://schemas.openxmlformats.org/officeDocument/2006/relationships/slideLayout" Target="../slideLayouts/slideLayout565.xml"/><Relationship Id="rId49" Type="http://schemas.openxmlformats.org/officeDocument/2006/relationships/slideLayout" Target="../slideLayouts/slideLayout578.xml"/><Relationship Id="rId57" Type="http://schemas.openxmlformats.org/officeDocument/2006/relationships/theme" Target="../theme/theme8.xml"/><Relationship Id="rId10" Type="http://schemas.openxmlformats.org/officeDocument/2006/relationships/slideLayout" Target="../slideLayouts/slideLayout539.xml"/><Relationship Id="rId31" Type="http://schemas.openxmlformats.org/officeDocument/2006/relationships/slideLayout" Target="../slideLayouts/slideLayout560.xml"/><Relationship Id="rId44" Type="http://schemas.openxmlformats.org/officeDocument/2006/relationships/slideLayout" Target="../slideLayouts/slideLayout573.xml"/><Relationship Id="rId52" Type="http://schemas.openxmlformats.org/officeDocument/2006/relationships/slideLayout" Target="../slideLayouts/slideLayout581.xml"/><Relationship Id="rId60" Type="http://schemas.openxmlformats.org/officeDocument/2006/relationships/image" Target="../media/image2.sv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8.xml"/><Relationship Id="rId18" Type="http://schemas.openxmlformats.org/officeDocument/2006/relationships/slideLayout" Target="../slideLayouts/slideLayout603.xml"/><Relationship Id="rId26" Type="http://schemas.openxmlformats.org/officeDocument/2006/relationships/slideLayout" Target="../slideLayouts/slideLayout611.xml"/><Relationship Id="rId39" Type="http://schemas.openxmlformats.org/officeDocument/2006/relationships/slideLayout" Target="../slideLayouts/slideLayout624.xml"/><Relationship Id="rId21" Type="http://schemas.openxmlformats.org/officeDocument/2006/relationships/slideLayout" Target="../slideLayouts/slideLayout606.xml"/><Relationship Id="rId34" Type="http://schemas.openxmlformats.org/officeDocument/2006/relationships/slideLayout" Target="../slideLayouts/slideLayout619.xml"/><Relationship Id="rId42" Type="http://schemas.openxmlformats.org/officeDocument/2006/relationships/slideLayout" Target="../slideLayouts/slideLayout627.xml"/><Relationship Id="rId47" Type="http://schemas.openxmlformats.org/officeDocument/2006/relationships/slideLayout" Target="../slideLayouts/slideLayout632.xml"/><Relationship Id="rId50" Type="http://schemas.openxmlformats.org/officeDocument/2006/relationships/slideLayout" Target="../slideLayouts/slideLayout635.xml"/><Relationship Id="rId55" Type="http://schemas.openxmlformats.org/officeDocument/2006/relationships/slideLayout" Target="../slideLayouts/slideLayout640.xml"/><Relationship Id="rId7" Type="http://schemas.openxmlformats.org/officeDocument/2006/relationships/slideLayout" Target="../slideLayouts/slideLayout592.xml"/><Relationship Id="rId2" Type="http://schemas.openxmlformats.org/officeDocument/2006/relationships/slideLayout" Target="../slideLayouts/slideLayout587.xml"/><Relationship Id="rId16" Type="http://schemas.openxmlformats.org/officeDocument/2006/relationships/slideLayout" Target="../slideLayouts/slideLayout601.xml"/><Relationship Id="rId29" Type="http://schemas.openxmlformats.org/officeDocument/2006/relationships/slideLayout" Target="../slideLayouts/slideLayout614.xml"/><Relationship Id="rId11" Type="http://schemas.openxmlformats.org/officeDocument/2006/relationships/slideLayout" Target="../slideLayouts/slideLayout596.xml"/><Relationship Id="rId24" Type="http://schemas.openxmlformats.org/officeDocument/2006/relationships/slideLayout" Target="../slideLayouts/slideLayout609.xml"/><Relationship Id="rId32" Type="http://schemas.openxmlformats.org/officeDocument/2006/relationships/slideLayout" Target="../slideLayouts/slideLayout617.xml"/><Relationship Id="rId37" Type="http://schemas.openxmlformats.org/officeDocument/2006/relationships/slideLayout" Target="../slideLayouts/slideLayout622.xml"/><Relationship Id="rId40" Type="http://schemas.openxmlformats.org/officeDocument/2006/relationships/slideLayout" Target="../slideLayouts/slideLayout625.xml"/><Relationship Id="rId45" Type="http://schemas.openxmlformats.org/officeDocument/2006/relationships/slideLayout" Target="../slideLayouts/slideLayout630.xml"/><Relationship Id="rId53" Type="http://schemas.openxmlformats.org/officeDocument/2006/relationships/slideLayout" Target="../slideLayouts/slideLayout638.xml"/><Relationship Id="rId58" Type="http://schemas.openxmlformats.org/officeDocument/2006/relationships/slideLayout" Target="../slideLayouts/slideLayout643.xml"/><Relationship Id="rId5" Type="http://schemas.openxmlformats.org/officeDocument/2006/relationships/slideLayout" Target="../slideLayouts/slideLayout590.xml"/><Relationship Id="rId19" Type="http://schemas.openxmlformats.org/officeDocument/2006/relationships/slideLayout" Target="../slideLayouts/slideLayout604.xml"/><Relationship Id="rId4" Type="http://schemas.openxmlformats.org/officeDocument/2006/relationships/slideLayout" Target="../slideLayouts/slideLayout589.xml"/><Relationship Id="rId9" Type="http://schemas.openxmlformats.org/officeDocument/2006/relationships/slideLayout" Target="../slideLayouts/slideLayout594.xml"/><Relationship Id="rId14" Type="http://schemas.openxmlformats.org/officeDocument/2006/relationships/slideLayout" Target="../slideLayouts/slideLayout599.xml"/><Relationship Id="rId22" Type="http://schemas.openxmlformats.org/officeDocument/2006/relationships/slideLayout" Target="../slideLayouts/slideLayout607.xml"/><Relationship Id="rId27" Type="http://schemas.openxmlformats.org/officeDocument/2006/relationships/slideLayout" Target="../slideLayouts/slideLayout612.xml"/><Relationship Id="rId30" Type="http://schemas.openxmlformats.org/officeDocument/2006/relationships/slideLayout" Target="../slideLayouts/slideLayout615.xml"/><Relationship Id="rId35" Type="http://schemas.openxmlformats.org/officeDocument/2006/relationships/slideLayout" Target="../slideLayouts/slideLayout620.xml"/><Relationship Id="rId43" Type="http://schemas.openxmlformats.org/officeDocument/2006/relationships/slideLayout" Target="../slideLayouts/slideLayout628.xml"/><Relationship Id="rId48" Type="http://schemas.openxmlformats.org/officeDocument/2006/relationships/slideLayout" Target="../slideLayouts/slideLayout633.xml"/><Relationship Id="rId56" Type="http://schemas.openxmlformats.org/officeDocument/2006/relationships/slideLayout" Target="../slideLayouts/slideLayout641.xml"/><Relationship Id="rId8" Type="http://schemas.openxmlformats.org/officeDocument/2006/relationships/slideLayout" Target="../slideLayouts/slideLayout593.xml"/><Relationship Id="rId51" Type="http://schemas.openxmlformats.org/officeDocument/2006/relationships/slideLayout" Target="../slideLayouts/slideLayout636.xml"/><Relationship Id="rId3" Type="http://schemas.openxmlformats.org/officeDocument/2006/relationships/slideLayout" Target="../slideLayouts/slideLayout588.xml"/><Relationship Id="rId12" Type="http://schemas.openxmlformats.org/officeDocument/2006/relationships/slideLayout" Target="../slideLayouts/slideLayout597.xml"/><Relationship Id="rId17" Type="http://schemas.openxmlformats.org/officeDocument/2006/relationships/slideLayout" Target="../slideLayouts/slideLayout602.xml"/><Relationship Id="rId25" Type="http://schemas.openxmlformats.org/officeDocument/2006/relationships/slideLayout" Target="../slideLayouts/slideLayout610.xml"/><Relationship Id="rId33" Type="http://schemas.openxmlformats.org/officeDocument/2006/relationships/slideLayout" Target="../slideLayouts/slideLayout618.xml"/><Relationship Id="rId38" Type="http://schemas.openxmlformats.org/officeDocument/2006/relationships/slideLayout" Target="../slideLayouts/slideLayout623.xml"/><Relationship Id="rId46" Type="http://schemas.openxmlformats.org/officeDocument/2006/relationships/slideLayout" Target="../slideLayouts/slideLayout631.xml"/><Relationship Id="rId59" Type="http://schemas.openxmlformats.org/officeDocument/2006/relationships/slideLayout" Target="../slideLayouts/slideLayout644.xml"/><Relationship Id="rId20" Type="http://schemas.openxmlformats.org/officeDocument/2006/relationships/slideLayout" Target="../slideLayouts/slideLayout605.xml"/><Relationship Id="rId41" Type="http://schemas.openxmlformats.org/officeDocument/2006/relationships/slideLayout" Target="../slideLayouts/slideLayout626.xml"/><Relationship Id="rId54" Type="http://schemas.openxmlformats.org/officeDocument/2006/relationships/slideLayout" Target="../slideLayouts/slideLayout639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5" Type="http://schemas.openxmlformats.org/officeDocument/2006/relationships/slideLayout" Target="../slideLayouts/slideLayout600.xml"/><Relationship Id="rId23" Type="http://schemas.openxmlformats.org/officeDocument/2006/relationships/slideLayout" Target="../slideLayouts/slideLayout608.xml"/><Relationship Id="rId28" Type="http://schemas.openxmlformats.org/officeDocument/2006/relationships/slideLayout" Target="../slideLayouts/slideLayout613.xml"/><Relationship Id="rId36" Type="http://schemas.openxmlformats.org/officeDocument/2006/relationships/slideLayout" Target="../slideLayouts/slideLayout621.xml"/><Relationship Id="rId49" Type="http://schemas.openxmlformats.org/officeDocument/2006/relationships/slideLayout" Target="../slideLayouts/slideLayout634.xml"/><Relationship Id="rId57" Type="http://schemas.openxmlformats.org/officeDocument/2006/relationships/slideLayout" Target="../slideLayouts/slideLayout642.xml"/><Relationship Id="rId10" Type="http://schemas.openxmlformats.org/officeDocument/2006/relationships/slideLayout" Target="../slideLayouts/slideLayout595.xml"/><Relationship Id="rId31" Type="http://schemas.openxmlformats.org/officeDocument/2006/relationships/slideLayout" Target="../slideLayouts/slideLayout616.xml"/><Relationship Id="rId44" Type="http://schemas.openxmlformats.org/officeDocument/2006/relationships/slideLayout" Target="../slideLayouts/slideLayout629.xml"/><Relationship Id="rId52" Type="http://schemas.openxmlformats.org/officeDocument/2006/relationships/slideLayout" Target="../slideLayouts/slideLayout637.xml"/><Relationship Id="rId60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23899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3A0289-E5C4-74D3-46E5-CB49BE9022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139" y="1680713"/>
            <a:ext cx="11267660" cy="44914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11653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  <p:sldLayoutId id="2147484462" r:id="rId11"/>
    <p:sldLayoutId id="2147484463" r:id="rId12"/>
    <p:sldLayoutId id="2147484464" r:id="rId13"/>
    <p:sldLayoutId id="2147484465" r:id="rId14"/>
    <p:sldLayoutId id="2147484466" r:id="rId15"/>
    <p:sldLayoutId id="2147484467" r:id="rId16"/>
    <p:sldLayoutId id="2147484468" r:id="rId17"/>
    <p:sldLayoutId id="2147484469" r:id="rId18"/>
    <p:sldLayoutId id="2147484470" r:id="rId19"/>
    <p:sldLayoutId id="2147484471" r:id="rId20"/>
    <p:sldLayoutId id="2147484472" r:id="rId21"/>
    <p:sldLayoutId id="2147484473" r:id="rId22"/>
    <p:sldLayoutId id="2147484474" r:id="rId23"/>
    <p:sldLayoutId id="2147484475" r:id="rId24"/>
    <p:sldLayoutId id="2147484476" r:id="rId25"/>
    <p:sldLayoutId id="2147484477" r:id="rId26"/>
    <p:sldLayoutId id="2147484478" r:id="rId27"/>
    <p:sldLayoutId id="2147484479" r:id="rId28"/>
    <p:sldLayoutId id="2147484480" r:id="rId29"/>
    <p:sldLayoutId id="2147484481" r:id="rId30"/>
    <p:sldLayoutId id="2147484482" r:id="rId31"/>
    <p:sldLayoutId id="2147484483" r:id="rId32"/>
    <p:sldLayoutId id="2147484484" r:id="rId33"/>
    <p:sldLayoutId id="2147484485" r:id="rId34"/>
    <p:sldLayoutId id="2147484486" r:id="rId35"/>
    <p:sldLayoutId id="2147484487" r:id="rId36"/>
    <p:sldLayoutId id="2147484488" r:id="rId37"/>
    <p:sldLayoutId id="2147484489" r:id="rId38"/>
    <p:sldLayoutId id="2147484490" r:id="rId39"/>
    <p:sldLayoutId id="2147484491" r:id="rId40"/>
    <p:sldLayoutId id="2147484492" r:id="rId41"/>
    <p:sldLayoutId id="2147484493" r:id="rId42"/>
    <p:sldLayoutId id="2147484494" r:id="rId43"/>
    <p:sldLayoutId id="2147484495" r:id="rId44"/>
    <p:sldLayoutId id="2147484496" r:id="rId45"/>
    <p:sldLayoutId id="2147484497" r:id="rId46"/>
    <p:sldLayoutId id="2147484498" r:id="rId47"/>
    <p:sldLayoutId id="2147484499" r:id="rId48"/>
    <p:sldLayoutId id="2147484500" r:id="rId49"/>
    <p:sldLayoutId id="2147484501" r:id="rId50"/>
    <p:sldLayoutId id="2147484502" r:id="rId51"/>
    <p:sldLayoutId id="2147484503" r:id="rId52"/>
    <p:sldLayoutId id="2147484504" r:id="rId53"/>
    <p:sldLayoutId id="2147484505" r:id="rId54"/>
    <p:sldLayoutId id="2147484506" r:id="rId55"/>
    <p:sldLayoutId id="2147484507" r:id="rId5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dirty="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253800" indent="-25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Courier New" panose="02070309020205020404" pitchFamily="49" charset="0"/>
        <a:buChar char="o"/>
        <a:defRPr sz="14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239">
          <p15:clr>
            <a:srgbClr val="F26B43"/>
          </p15:clr>
        </p15:guide>
        <p15:guide id="17" orient="horz" pos="454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0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23899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3A0289-E5C4-74D3-46E5-CB49BE9022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139" y="1680713"/>
            <a:ext cx="11267660" cy="44914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2559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9" r:id="rId1"/>
    <p:sldLayoutId id="2147485250" r:id="rId2"/>
    <p:sldLayoutId id="2147485251" r:id="rId3"/>
    <p:sldLayoutId id="2147485252" r:id="rId4"/>
    <p:sldLayoutId id="2147485253" r:id="rId5"/>
    <p:sldLayoutId id="2147485254" r:id="rId6"/>
    <p:sldLayoutId id="2147485255" r:id="rId7"/>
    <p:sldLayoutId id="2147485256" r:id="rId8"/>
    <p:sldLayoutId id="2147485257" r:id="rId9"/>
    <p:sldLayoutId id="2147485258" r:id="rId10"/>
    <p:sldLayoutId id="2147485259" r:id="rId11"/>
    <p:sldLayoutId id="2147485260" r:id="rId12"/>
    <p:sldLayoutId id="2147485261" r:id="rId13"/>
    <p:sldLayoutId id="2147485262" r:id="rId14"/>
    <p:sldLayoutId id="2147485263" r:id="rId15"/>
    <p:sldLayoutId id="2147485264" r:id="rId16"/>
    <p:sldLayoutId id="2147485265" r:id="rId17"/>
    <p:sldLayoutId id="2147485266" r:id="rId18"/>
    <p:sldLayoutId id="2147485267" r:id="rId19"/>
    <p:sldLayoutId id="2147485268" r:id="rId20"/>
    <p:sldLayoutId id="2147485269" r:id="rId21"/>
    <p:sldLayoutId id="2147485270" r:id="rId22"/>
    <p:sldLayoutId id="2147485271" r:id="rId23"/>
    <p:sldLayoutId id="2147485272" r:id="rId24"/>
    <p:sldLayoutId id="2147485273" r:id="rId25"/>
    <p:sldLayoutId id="2147485274" r:id="rId26"/>
    <p:sldLayoutId id="2147485275" r:id="rId27"/>
    <p:sldLayoutId id="2147485276" r:id="rId28"/>
    <p:sldLayoutId id="2147485277" r:id="rId29"/>
    <p:sldLayoutId id="2147485278" r:id="rId30"/>
    <p:sldLayoutId id="2147485279" r:id="rId31"/>
    <p:sldLayoutId id="2147485280" r:id="rId32"/>
    <p:sldLayoutId id="2147485281" r:id="rId33"/>
    <p:sldLayoutId id="2147485282" r:id="rId34"/>
    <p:sldLayoutId id="2147485283" r:id="rId35"/>
    <p:sldLayoutId id="2147485284" r:id="rId36"/>
    <p:sldLayoutId id="2147485285" r:id="rId37"/>
    <p:sldLayoutId id="2147485286" r:id="rId38"/>
    <p:sldLayoutId id="2147485287" r:id="rId39"/>
    <p:sldLayoutId id="2147485288" r:id="rId40"/>
    <p:sldLayoutId id="2147485289" r:id="rId41"/>
    <p:sldLayoutId id="2147485290" r:id="rId42"/>
    <p:sldLayoutId id="2147485291" r:id="rId43"/>
    <p:sldLayoutId id="2147485292" r:id="rId44"/>
    <p:sldLayoutId id="2147485293" r:id="rId45"/>
    <p:sldLayoutId id="2147485294" r:id="rId46"/>
    <p:sldLayoutId id="2147485295" r:id="rId47"/>
    <p:sldLayoutId id="2147485296" r:id="rId48"/>
    <p:sldLayoutId id="2147485297" r:id="rId49"/>
    <p:sldLayoutId id="2147485298" r:id="rId50"/>
    <p:sldLayoutId id="2147485299" r:id="rId51"/>
    <p:sldLayoutId id="2147485300" r:id="rId52"/>
    <p:sldLayoutId id="2147485301" r:id="rId53"/>
    <p:sldLayoutId id="2147485302" r:id="rId54"/>
    <p:sldLayoutId id="2147485303" r:id="rId55"/>
    <p:sldLayoutId id="2147485304" r:id="rId5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dirty="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253800" indent="-25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Courier New" panose="02070309020205020404" pitchFamily="49" charset="0"/>
        <a:buChar char="o"/>
        <a:defRPr sz="14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239">
          <p15:clr>
            <a:srgbClr val="F26B43"/>
          </p15:clr>
        </p15:guide>
        <p15:guide id="17" orient="horz" pos="454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0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505" y="1181101"/>
            <a:ext cx="11274551" cy="4991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24FA9BDF-DF37-400E-B5C3-59CE8A1C6B6B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001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7" r:id="rId1"/>
    <p:sldLayoutId id="2147485308" r:id="rId2"/>
    <p:sldLayoutId id="2147485309" r:id="rId3"/>
    <p:sldLayoutId id="2147485310" r:id="rId4"/>
    <p:sldLayoutId id="2147485311" r:id="rId5"/>
    <p:sldLayoutId id="2147485312" r:id="rId6"/>
    <p:sldLayoutId id="2147485313" r:id="rId7"/>
    <p:sldLayoutId id="2147485314" r:id="rId8"/>
    <p:sldLayoutId id="2147485315" r:id="rId9"/>
    <p:sldLayoutId id="2147485316" r:id="rId10"/>
    <p:sldLayoutId id="2147485317" r:id="rId11"/>
    <p:sldLayoutId id="2147485318" r:id="rId12"/>
    <p:sldLayoutId id="2147485319" r:id="rId13"/>
    <p:sldLayoutId id="2147485320" r:id="rId14"/>
    <p:sldLayoutId id="2147485321" r:id="rId15"/>
    <p:sldLayoutId id="2147485322" r:id="rId16"/>
    <p:sldLayoutId id="2147485323" r:id="rId17"/>
    <p:sldLayoutId id="2147485324" r:id="rId18"/>
    <p:sldLayoutId id="2147485325" r:id="rId19"/>
    <p:sldLayoutId id="2147485326" r:id="rId20"/>
    <p:sldLayoutId id="2147485327" r:id="rId21"/>
    <p:sldLayoutId id="2147485328" r:id="rId22"/>
    <p:sldLayoutId id="2147485329" r:id="rId23"/>
    <p:sldLayoutId id="2147485330" r:id="rId24"/>
    <p:sldLayoutId id="2147485331" r:id="rId25"/>
    <p:sldLayoutId id="2147485332" r:id="rId26"/>
    <p:sldLayoutId id="2147485333" r:id="rId27"/>
    <p:sldLayoutId id="2147485334" r:id="rId28"/>
    <p:sldLayoutId id="2147485335" r:id="rId29"/>
    <p:sldLayoutId id="2147485336" r:id="rId30"/>
    <p:sldLayoutId id="2147485337" r:id="rId31"/>
    <p:sldLayoutId id="2147485338" r:id="rId32"/>
    <p:sldLayoutId id="2147485339" r:id="rId33"/>
    <p:sldLayoutId id="2147485340" r:id="rId34"/>
    <p:sldLayoutId id="2147485341" r:id="rId35"/>
    <p:sldLayoutId id="2147485342" r:id="rId36"/>
    <p:sldLayoutId id="2147485343" r:id="rId37"/>
    <p:sldLayoutId id="2147485344" r:id="rId38"/>
    <p:sldLayoutId id="2147485345" r:id="rId39"/>
    <p:sldLayoutId id="2147485346" r:id="rId40"/>
    <p:sldLayoutId id="2147485347" r:id="rId41"/>
    <p:sldLayoutId id="2147485348" r:id="rId42"/>
    <p:sldLayoutId id="2147485349" r:id="rId43"/>
    <p:sldLayoutId id="2147485350" r:id="rId44"/>
    <p:sldLayoutId id="2147485351" r:id="rId45"/>
    <p:sldLayoutId id="2147485352" r:id="rId46"/>
    <p:sldLayoutId id="2147485353" r:id="rId47"/>
    <p:sldLayoutId id="2147485354" r:id="rId4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144">
          <p15:clr>
            <a:srgbClr val="F26B43"/>
          </p15:clr>
        </p15:guide>
        <p15:guide id="17" orient="horz" pos="288">
          <p15:clr>
            <a:srgbClr val="F26B43"/>
          </p15:clr>
        </p15:guide>
        <p15:guide id="19" orient="horz" pos="576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7" orient="horz" pos="4320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2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12">
          <p15:clr>
            <a:srgbClr val="F26B43"/>
          </p15:clr>
        </p15:guide>
        <p15:guide id="77" pos="4968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23899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11277600" cy="4495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877241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6" r:id="rId1"/>
    <p:sldLayoutId id="2147485357" r:id="rId2"/>
    <p:sldLayoutId id="2147485358" r:id="rId3"/>
    <p:sldLayoutId id="2147485359" r:id="rId4"/>
    <p:sldLayoutId id="2147485360" r:id="rId5"/>
    <p:sldLayoutId id="2147485361" r:id="rId6"/>
    <p:sldLayoutId id="2147485362" r:id="rId7"/>
    <p:sldLayoutId id="2147485363" r:id="rId8"/>
    <p:sldLayoutId id="2147485364" r:id="rId9"/>
    <p:sldLayoutId id="2147485365" r:id="rId10"/>
    <p:sldLayoutId id="2147485366" r:id="rId11"/>
    <p:sldLayoutId id="2147485367" r:id="rId12"/>
    <p:sldLayoutId id="2147485368" r:id="rId13"/>
    <p:sldLayoutId id="2147485369" r:id="rId14"/>
    <p:sldLayoutId id="2147485370" r:id="rId15"/>
    <p:sldLayoutId id="2147485371" r:id="rId16"/>
    <p:sldLayoutId id="2147485372" r:id="rId17"/>
    <p:sldLayoutId id="2147485373" r:id="rId18"/>
    <p:sldLayoutId id="2147485374" r:id="rId19"/>
    <p:sldLayoutId id="2147485375" r:id="rId20"/>
    <p:sldLayoutId id="2147485376" r:id="rId21"/>
    <p:sldLayoutId id="2147485377" r:id="rId22"/>
    <p:sldLayoutId id="2147485378" r:id="rId23"/>
    <p:sldLayoutId id="2147485379" r:id="rId24"/>
    <p:sldLayoutId id="2147485380" r:id="rId25"/>
    <p:sldLayoutId id="2147485381" r:id="rId26"/>
    <p:sldLayoutId id="2147485382" r:id="rId27"/>
    <p:sldLayoutId id="2147485383" r:id="rId28"/>
    <p:sldLayoutId id="2147485384" r:id="rId29"/>
    <p:sldLayoutId id="2147485385" r:id="rId30"/>
    <p:sldLayoutId id="2147485386" r:id="rId31"/>
    <p:sldLayoutId id="2147485387" r:id="rId32"/>
    <p:sldLayoutId id="2147485388" r:id="rId33"/>
    <p:sldLayoutId id="2147485389" r:id="rId34"/>
    <p:sldLayoutId id="2147485390" r:id="rId35"/>
    <p:sldLayoutId id="2147485391" r:id="rId36"/>
    <p:sldLayoutId id="2147485392" r:id="rId37"/>
    <p:sldLayoutId id="2147485393" r:id="rId38"/>
    <p:sldLayoutId id="2147485394" r:id="rId39"/>
    <p:sldLayoutId id="2147485395" r:id="rId40"/>
    <p:sldLayoutId id="2147485396" r:id="rId41"/>
    <p:sldLayoutId id="2147485397" r:id="rId42"/>
    <p:sldLayoutId id="2147485398" r:id="rId43"/>
    <p:sldLayoutId id="2147485399" r:id="rId44"/>
    <p:sldLayoutId id="2147485400" r:id="rId45"/>
    <p:sldLayoutId id="2147485401" r:id="rId46"/>
    <p:sldLayoutId id="2147485402" r:id="rId47"/>
    <p:sldLayoutId id="2147485403" r:id="rId48"/>
    <p:sldLayoutId id="2147485404" r:id="rId49"/>
    <p:sldLayoutId id="2147485405" r:id="rId50"/>
    <p:sldLayoutId id="2147485406" r:id="rId51"/>
    <p:sldLayoutId id="2147485407" r:id="rId52"/>
    <p:sldLayoutId id="2147485408" r:id="rId53"/>
    <p:sldLayoutId id="2147485409" r:id="rId54"/>
    <p:sldLayoutId id="2147485410" r:id="rId55"/>
    <p:sldLayoutId id="2147485411" r:id="rId56"/>
    <p:sldLayoutId id="2147485412" r:id="rId5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dirty="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239">
          <p15:clr>
            <a:srgbClr val="F26B43"/>
          </p15:clr>
        </p15:guide>
        <p15:guide id="17" orient="horz" pos="454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0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23899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11277600" cy="4495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448204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0" r:id="rId1"/>
    <p:sldLayoutId id="2147484591" r:id="rId2"/>
    <p:sldLayoutId id="2147484592" r:id="rId3"/>
    <p:sldLayoutId id="2147484593" r:id="rId4"/>
    <p:sldLayoutId id="2147484594" r:id="rId5"/>
    <p:sldLayoutId id="2147484595" r:id="rId6"/>
    <p:sldLayoutId id="2147484596" r:id="rId7"/>
    <p:sldLayoutId id="2147484597" r:id="rId8"/>
    <p:sldLayoutId id="2147484598" r:id="rId9"/>
    <p:sldLayoutId id="2147484599" r:id="rId10"/>
    <p:sldLayoutId id="2147484600" r:id="rId11"/>
    <p:sldLayoutId id="2147484601" r:id="rId12"/>
    <p:sldLayoutId id="2147484602" r:id="rId13"/>
    <p:sldLayoutId id="2147484603" r:id="rId14"/>
    <p:sldLayoutId id="2147484604" r:id="rId15"/>
    <p:sldLayoutId id="2147484605" r:id="rId16"/>
    <p:sldLayoutId id="2147484606" r:id="rId17"/>
    <p:sldLayoutId id="2147484607" r:id="rId18"/>
    <p:sldLayoutId id="2147484608" r:id="rId19"/>
    <p:sldLayoutId id="2147484609" r:id="rId20"/>
    <p:sldLayoutId id="2147484610" r:id="rId21"/>
    <p:sldLayoutId id="2147484611" r:id="rId22"/>
    <p:sldLayoutId id="2147484612" r:id="rId23"/>
    <p:sldLayoutId id="2147484613" r:id="rId24"/>
    <p:sldLayoutId id="2147484614" r:id="rId25"/>
    <p:sldLayoutId id="2147484615" r:id="rId26"/>
    <p:sldLayoutId id="2147484616" r:id="rId27"/>
    <p:sldLayoutId id="2147484617" r:id="rId28"/>
    <p:sldLayoutId id="2147484618" r:id="rId29"/>
    <p:sldLayoutId id="2147484619" r:id="rId30"/>
    <p:sldLayoutId id="2147484620" r:id="rId31"/>
    <p:sldLayoutId id="2147484621" r:id="rId32"/>
    <p:sldLayoutId id="2147484622" r:id="rId33"/>
    <p:sldLayoutId id="2147484623" r:id="rId34"/>
    <p:sldLayoutId id="2147484624" r:id="rId35"/>
    <p:sldLayoutId id="2147484625" r:id="rId36"/>
    <p:sldLayoutId id="2147484626" r:id="rId37"/>
    <p:sldLayoutId id="2147484627" r:id="rId38"/>
    <p:sldLayoutId id="2147484628" r:id="rId39"/>
    <p:sldLayoutId id="2147484629" r:id="rId40"/>
    <p:sldLayoutId id="2147484630" r:id="rId41"/>
    <p:sldLayoutId id="2147484631" r:id="rId42"/>
    <p:sldLayoutId id="2147484632" r:id="rId43"/>
    <p:sldLayoutId id="2147484633" r:id="rId44"/>
    <p:sldLayoutId id="2147484634" r:id="rId45"/>
    <p:sldLayoutId id="2147484635" r:id="rId46"/>
    <p:sldLayoutId id="2147484636" r:id="rId47"/>
    <p:sldLayoutId id="2147484637" r:id="rId48"/>
    <p:sldLayoutId id="2147484638" r:id="rId49"/>
    <p:sldLayoutId id="2147484639" r:id="rId50"/>
    <p:sldLayoutId id="2147484640" r:id="rId51"/>
    <p:sldLayoutId id="2147484641" r:id="rId52"/>
    <p:sldLayoutId id="2147484642" r:id="rId53"/>
    <p:sldLayoutId id="2147484643" r:id="rId54"/>
    <p:sldLayoutId id="2147484644" r:id="rId55"/>
    <p:sldLayoutId id="2147484645" r:id="rId56"/>
    <p:sldLayoutId id="2147484646" r:id="rId57"/>
    <p:sldLayoutId id="2147484647" r:id="rId58"/>
    <p:sldLayoutId id="2147484648" r:id="rId59"/>
    <p:sldLayoutId id="2147484649" r:id="rId60"/>
    <p:sldLayoutId id="2147484650" r:id="rId61"/>
    <p:sldLayoutId id="2147484651" r:id="rId62"/>
    <p:sldLayoutId id="2147484652" r:id="rId63"/>
    <p:sldLayoutId id="2147484653" r:id="rId64"/>
    <p:sldLayoutId id="2147484654" r:id="rId65"/>
    <p:sldLayoutId id="2147484655" r:id="rId6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dirty="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239">
          <p15:clr>
            <a:srgbClr val="F26B43"/>
          </p15:clr>
        </p15:guide>
        <p15:guide id="17" orient="horz" pos="454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0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D5DDA9FD-D621-0134-9699-89AED709AC96}"/>
              </a:ext>
            </a:extLst>
          </p:cNvPr>
          <p:cNvSpPr txBox="1"/>
          <p:nvPr userDrawn="1"/>
        </p:nvSpPr>
        <p:spPr>
          <a:xfrm>
            <a:off x="4429760" y="-538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2B80E9-585F-C9B1-8576-376264F29854}"/>
              </a:ext>
            </a:extLst>
          </p:cNvPr>
          <p:cNvPicPr>
            <a:picLocks noChangeAspect="1"/>
          </p:cNvPicPr>
          <p:nvPr userDrawn="1"/>
        </p:nvPicPr>
        <p:blipFill>
          <a:blip r:embed="rId7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6413450"/>
            <a:ext cx="497433" cy="18288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0E024EE-FD6A-B6AB-A3B4-33DB1D9D4C9F}"/>
              </a:ext>
            </a:extLst>
          </p:cNvPr>
          <p:cNvSpPr txBox="1"/>
          <p:nvPr userDrawn="1"/>
        </p:nvSpPr>
        <p:spPr>
          <a:xfrm>
            <a:off x="9539519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rgbClr val="010000"/>
                </a:solidFill>
              </a:rPr>
              <a:t>EPAM Proprietary &amp; Confidential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05241D2-DD60-6811-5E6D-C8C5BC3FBCBF}"/>
              </a:ext>
            </a:extLst>
          </p:cNvPr>
          <p:cNvSpPr txBox="1">
            <a:spLocks/>
          </p:cNvSpPr>
          <p:nvPr userDrawn="1"/>
        </p:nvSpPr>
        <p:spPr>
          <a:xfrm>
            <a:off x="11315641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rgbClr val="010000"/>
                </a:solidFill>
              </a:rPr>
              <a:pPr lvl="0"/>
              <a:t>‹#›</a:t>
            </a:fld>
            <a:endParaRPr lang="en-US" sz="1000">
              <a:solidFill>
                <a:srgbClr val="010000"/>
              </a:solidFill>
            </a:endParaRP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1FAF5EB5-8EED-D1BB-C0DC-9C6119D22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063" y="880646"/>
            <a:ext cx="1092993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3470F6-1A75-436F-5B3A-ECBBB52824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419" y="1726856"/>
            <a:ext cx="10929937" cy="44834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4325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8" r:id="rId1"/>
    <p:sldLayoutId id="2147484659" r:id="rId2"/>
    <p:sldLayoutId id="2147484660" r:id="rId3"/>
    <p:sldLayoutId id="2147484661" r:id="rId4"/>
    <p:sldLayoutId id="2147484662" r:id="rId5"/>
    <p:sldLayoutId id="2147484663" r:id="rId6"/>
    <p:sldLayoutId id="2147484664" r:id="rId7"/>
    <p:sldLayoutId id="2147484665" r:id="rId8"/>
    <p:sldLayoutId id="2147484666" r:id="rId9"/>
    <p:sldLayoutId id="2147484667" r:id="rId10"/>
    <p:sldLayoutId id="2147484668" r:id="rId11"/>
    <p:sldLayoutId id="2147484669" r:id="rId12"/>
    <p:sldLayoutId id="2147484670" r:id="rId13"/>
    <p:sldLayoutId id="2147484671" r:id="rId14"/>
    <p:sldLayoutId id="2147484672" r:id="rId15"/>
    <p:sldLayoutId id="2147484673" r:id="rId16"/>
    <p:sldLayoutId id="2147484674" r:id="rId17"/>
    <p:sldLayoutId id="2147484675" r:id="rId18"/>
    <p:sldLayoutId id="2147484676" r:id="rId19"/>
    <p:sldLayoutId id="2147484677" r:id="rId20"/>
    <p:sldLayoutId id="2147484678" r:id="rId21"/>
    <p:sldLayoutId id="2147484679" r:id="rId22"/>
    <p:sldLayoutId id="2147484680" r:id="rId23"/>
    <p:sldLayoutId id="2147484681" r:id="rId24"/>
    <p:sldLayoutId id="2147484682" r:id="rId25"/>
    <p:sldLayoutId id="2147484683" r:id="rId26"/>
    <p:sldLayoutId id="2147484684" r:id="rId27"/>
    <p:sldLayoutId id="2147484685" r:id="rId28"/>
    <p:sldLayoutId id="2147484686" r:id="rId29"/>
    <p:sldLayoutId id="2147484687" r:id="rId30"/>
    <p:sldLayoutId id="2147484688" r:id="rId31"/>
    <p:sldLayoutId id="2147484689" r:id="rId32"/>
    <p:sldLayoutId id="2147484690" r:id="rId33"/>
    <p:sldLayoutId id="2147484691" r:id="rId34"/>
    <p:sldLayoutId id="2147484692" r:id="rId35"/>
    <p:sldLayoutId id="2147484693" r:id="rId36"/>
    <p:sldLayoutId id="2147484694" r:id="rId37"/>
    <p:sldLayoutId id="2147484695" r:id="rId38"/>
    <p:sldLayoutId id="2147484696" r:id="rId39"/>
    <p:sldLayoutId id="2147484697" r:id="rId40"/>
    <p:sldLayoutId id="2147484698" r:id="rId41"/>
    <p:sldLayoutId id="2147484699" r:id="rId42"/>
    <p:sldLayoutId id="2147484700" r:id="rId43"/>
    <p:sldLayoutId id="2147484701" r:id="rId44"/>
    <p:sldLayoutId id="2147484702" r:id="rId45"/>
    <p:sldLayoutId id="2147484703" r:id="rId46"/>
    <p:sldLayoutId id="2147484704" r:id="rId47"/>
    <p:sldLayoutId id="2147484705" r:id="rId48"/>
    <p:sldLayoutId id="2147484706" r:id="rId49"/>
    <p:sldLayoutId id="2147484707" r:id="rId50"/>
    <p:sldLayoutId id="2147484708" r:id="rId51"/>
    <p:sldLayoutId id="2147484709" r:id="rId52"/>
    <p:sldLayoutId id="2147484710" r:id="rId53"/>
    <p:sldLayoutId id="2147484711" r:id="rId54"/>
    <p:sldLayoutId id="2147484712" r:id="rId55"/>
    <p:sldLayoutId id="2147484713" r:id="rId56"/>
    <p:sldLayoutId id="2147484714" r:id="rId57"/>
    <p:sldLayoutId id="2147484715" r:id="rId58"/>
    <p:sldLayoutId id="2147484716" r:id="rId59"/>
    <p:sldLayoutId id="2147484717" r:id="rId60"/>
    <p:sldLayoutId id="2147484718" r:id="rId61"/>
    <p:sldLayoutId id="2147484719" r:id="rId62"/>
    <p:sldLayoutId id="2147484720" r:id="rId63"/>
    <p:sldLayoutId id="2147484721" r:id="rId64"/>
    <p:sldLayoutId id="2147484722" r:id="rId65"/>
    <p:sldLayoutId id="2147484723" r:id="rId66"/>
    <p:sldLayoutId id="2147484724" r:id="rId67"/>
    <p:sldLayoutId id="2147484725" r:id="rId68"/>
    <p:sldLayoutId id="2147484726" r:id="rId69"/>
    <p:sldLayoutId id="2147484727" r:id="rId70"/>
    <p:sldLayoutId id="2147484728" r:id="rId71"/>
    <p:sldLayoutId id="2147484729" r:id="rId72"/>
    <p:sldLayoutId id="2147484730" r:id="rId73"/>
    <p:sldLayoutId id="2147485413" r:id="rId7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spc="0" dirty="0">
          <a:solidFill>
            <a:schemeClr val="tx1"/>
          </a:solidFill>
          <a:effectLst/>
          <a:latin typeface="+mj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lang="en-US" sz="1400" b="0" i="0" kern="1200" dirty="0">
          <a:solidFill>
            <a:schemeClr val="accent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lang="en-US" sz="1400" b="0" i="0" kern="1200" dirty="0" smtClean="0">
          <a:solidFill>
            <a:schemeClr val="tx1"/>
          </a:solidFill>
          <a:latin typeface="+mn-lt"/>
          <a:ea typeface="Human Sans" charset="0"/>
          <a:cs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ourier New" panose="02070309020205020404" pitchFamily="49" charset="0"/>
        <a:buChar char="o"/>
        <a:defRPr lang="en-US" sz="1200" b="0" i="0" kern="1200" dirty="0" smtClean="0">
          <a:solidFill>
            <a:schemeClr val="tx1"/>
          </a:solidFill>
          <a:latin typeface="+mn-lt"/>
          <a:ea typeface="Human Sans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F26B43"/>
          </p15:clr>
        </p15:guide>
        <p15:guide id="3" pos="7280">
          <p15:clr>
            <a:srgbClr val="F26B43"/>
          </p15:clr>
        </p15:guide>
        <p15:guide id="4" orient="horz" pos="3912">
          <p15:clr>
            <a:srgbClr val="F26B43"/>
          </p15:clr>
        </p15:guide>
        <p15:guide id="12" orient="horz" pos="768">
          <p15:clr>
            <a:srgbClr val="F26B43"/>
          </p15:clr>
        </p15:guide>
        <p15:guide id="13" pos="830">
          <p15:clr>
            <a:srgbClr val="F26B43"/>
          </p15:clr>
        </p15:guide>
        <p15:guide id="14" pos="984">
          <p15:clr>
            <a:srgbClr val="F26B43"/>
          </p15:clr>
        </p15:guide>
        <p15:guide id="15" pos="1416">
          <p15:clr>
            <a:srgbClr val="F26B43"/>
          </p15:clr>
        </p15:guide>
        <p15:guide id="16" pos="1568">
          <p15:clr>
            <a:srgbClr val="F26B43"/>
          </p15:clr>
        </p15:guide>
        <p15:guide id="17" pos="2004">
          <p15:clr>
            <a:srgbClr val="F26B43"/>
          </p15:clr>
        </p15:guide>
        <p15:guide id="18" pos="2156">
          <p15:clr>
            <a:srgbClr val="F26B43"/>
          </p15:clr>
        </p15:guide>
        <p15:guide id="19" pos="2589">
          <p15:clr>
            <a:srgbClr val="F26B43"/>
          </p15:clr>
        </p15:guide>
        <p15:guide id="20" pos="2742">
          <p15:clr>
            <a:srgbClr val="F26B43"/>
          </p15:clr>
        </p15:guide>
        <p15:guide id="21" pos="3168">
          <p15:clr>
            <a:srgbClr val="F26B43"/>
          </p15:clr>
        </p15:guide>
        <p15:guide id="22" pos="3326">
          <p15:clr>
            <a:srgbClr val="F26B43"/>
          </p15:clr>
        </p15:guide>
        <p15:guide id="23" pos="3762">
          <p15:clr>
            <a:srgbClr val="F26B43"/>
          </p15:clr>
        </p15:guide>
        <p15:guide id="24" pos="3912">
          <p15:clr>
            <a:srgbClr val="F26B43"/>
          </p15:clr>
        </p15:guide>
        <p15:guide id="25" pos="4346">
          <p15:clr>
            <a:srgbClr val="F26B43"/>
          </p15:clr>
        </p15:guide>
        <p15:guide id="26" pos="4500">
          <p15:clr>
            <a:srgbClr val="F26B43"/>
          </p15:clr>
        </p15:guide>
        <p15:guide id="27" pos="4934">
          <p15:clr>
            <a:srgbClr val="F26B43"/>
          </p15:clr>
        </p15:guide>
        <p15:guide id="28" pos="5086">
          <p15:clr>
            <a:srgbClr val="F26B43"/>
          </p15:clr>
        </p15:guide>
        <p15:guide id="29" pos="5520">
          <p15:clr>
            <a:srgbClr val="F26B43"/>
          </p15:clr>
        </p15:guide>
        <p15:guide id="30" pos="5674">
          <p15:clr>
            <a:srgbClr val="F26B43"/>
          </p15:clr>
        </p15:guide>
        <p15:guide id="31" pos="6108">
          <p15:clr>
            <a:srgbClr val="F26B43"/>
          </p15:clr>
        </p15:guide>
        <p15:guide id="32" pos="6262">
          <p15:clr>
            <a:srgbClr val="F26B43"/>
          </p15:clr>
        </p15:guide>
        <p15:guide id="33" pos="6692">
          <p15:clr>
            <a:srgbClr val="F26B43"/>
          </p15:clr>
        </p15:guide>
        <p15:guide id="34" pos="6846">
          <p15:clr>
            <a:srgbClr val="F26B43"/>
          </p15:clr>
        </p15:guide>
        <p15:guide id="35" orient="horz" pos="984">
          <p15:clr>
            <a:srgbClr val="F26B43"/>
          </p15:clr>
        </p15:guide>
        <p15:guide id="36" orient="horz" pos="4128">
          <p15:clr>
            <a:srgbClr val="F26B43"/>
          </p15:clr>
        </p15:guide>
        <p15:guide id="37" orient="horz" pos="1080">
          <p15:clr>
            <a:srgbClr val="F26B43"/>
          </p15:clr>
        </p15:guide>
        <p15:guide id="38" orient="horz" pos="1248">
          <p15:clr>
            <a:srgbClr val="F26B43"/>
          </p15:clr>
        </p15:guide>
        <p15:guide id="39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0713" y="717613"/>
            <a:ext cx="1096568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D14E4D-CAE3-3A0B-B3F8-465622E4D6E8}"/>
              </a:ext>
            </a:extLst>
          </p:cNvPr>
          <p:cNvPicPr>
            <a:picLocks noChangeAspect="1"/>
          </p:cNvPicPr>
          <p:nvPr userDrawn="1"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6C1CD2-C3C3-99BC-1F71-5CF176EF164E}"/>
              </a:ext>
            </a:extLst>
          </p:cNvPr>
          <p:cNvSpPr txBox="1"/>
          <p:nvPr userDrawn="1"/>
        </p:nvSpPr>
        <p:spPr>
          <a:xfrm>
            <a:off x="-579120" y="45923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DDA9FD-D621-0134-9699-89AED709AC96}"/>
              </a:ext>
            </a:extLst>
          </p:cNvPr>
          <p:cNvSpPr txBox="1"/>
          <p:nvPr userDrawn="1"/>
        </p:nvSpPr>
        <p:spPr>
          <a:xfrm>
            <a:off x="4429760" y="-538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D7453A-FF25-1748-B091-91F29105A245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E5B4CB-0A41-3758-17D3-77CB4387DBAE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94283C5-7CEB-C3A6-3D15-0C58149D1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6410" y="1581502"/>
            <a:ext cx="10948386" cy="4628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382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1" r:id="rId1"/>
    <p:sldLayoutId id="2147484792" r:id="rId2"/>
    <p:sldLayoutId id="2147484793" r:id="rId3"/>
    <p:sldLayoutId id="2147484794" r:id="rId4"/>
    <p:sldLayoutId id="2147484795" r:id="rId5"/>
    <p:sldLayoutId id="2147484796" r:id="rId6"/>
    <p:sldLayoutId id="2147484797" r:id="rId7"/>
    <p:sldLayoutId id="2147484798" r:id="rId8"/>
    <p:sldLayoutId id="2147484799" r:id="rId9"/>
    <p:sldLayoutId id="2147484800" r:id="rId10"/>
    <p:sldLayoutId id="2147484801" r:id="rId11"/>
    <p:sldLayoutId id="2147484802" r:id="rId12"/>
    <p:sldLayoutId id="2147484803" r:id="rId13"/>
    <p:sldLayoutId id="2147484804" r:id="rId14"/>
    <p:sldLayoutId id="2147484805" r:id="rId15"/>
    <p:sldLayoutId id="2147484806" r:id="rId16"/>
    <p:sldLayoutId id="2147484807" r:id="rId17"/>
    <p:sldLayoutId id="2147484808" r:id="rId18"/>
    <p:sldLayoutId id="2147484809" r:id="rId19"/>
    <p:sldLayoutId id="2147484810" r:id="rId20"/>
    <p:sldLayoutId id="2147484811" r:id="rId21"/>
    <p:sldLayoutId id="2147484812" r:id="rId22"/>
    <p:sldLayoutId id="2147484813" r:id="rId23"/>
    <p:sldLayoutId id="2147484814" r:id="rId24"/>
    <p:sldLayoutId id="2147484815" r:id="rId25"/>
    <p:sldLayoutId id="2147484816" r:id="rId26"/>
    <p:sldLayoutId id="2147484817" r:id="rId27"/>
    <p:sldLayoutId id="2147484818" r:id="rId28"/>
    <p:sldLayoutId id="2147484819" r:id="rId29"/>
    <p:sldLayoutId id="2147484820" r:id="rId30"/>
    <p:sldLayoutId id="2147484821" r:id="rId31"/>
    <p:sldLayoutId id="2147484822" r:id="rId32"/>
    <p:sldLayoutId id="2147484823" r:id="rId33"/>
    <p:sldLayoutId id="2147484824" r:id="rId34"/>
    <p:sldLayoutId id="2147484825" r:id="rId35"/>
    <p:sldLayoutId id="2147484826" r:id="rId36"/>
    <p:sldLayoutId id="2147484827" r:id="rId37"/>
    <p:sldLayoutId id="2147484828" r:id="rId38"/>
    <p:sldLayoutId id="2147484829" r:id="rId39"/>
    <p:sldLayoutId id="2147484830" r:id="rId40"/>
    <p:sldLayoutId id="2147484831" r:id="rId41"/>
    <p:sldLayoutId id="2147484832" r:id="rId42"/>
    <p:sldLayoutId id="2147484833" r:id="rId43"/>
    <p:sldLayoutId id="2147484834" r:id="rId44"/>
    <p:sldLayoutId id="2147484835" r:id="rId45"/>
    <p:sldLayoutId id="2147484836" r:id="rId46"/>
    <p:sldLayoutId id="2147484837" r:id="rId47"/>
    <p:sldLayoutId id="2147484838" r:id="rId48"/>
    <p:sldLayoutId id="2147484839" r:id="rId49"/>
    <p:sldLayoutId id="2147484840" r:id="rId50"/>
    <p:sldLayoutId id="2147484841" r:id="rId51"/>
    <p:sldLayoutId id="2147484842" r:id="rId52"/>
    <p:sldLayoutId id="2147484843" r:id="rId53"/>
    <p:sldLayoutId id="2147484844" r:id="rId54"/>
    <p:sldLayoutId id="2147484845" r:id="rId55"/>
    <p:sldLayoutId id="2147484846" r:id="rId56"/>
    <p:sldLayoutId id="2147484847" r:id="rId57"/>
    <p:sldLayoutId id="2147484848" r:id="rId58"/>
    <p:sldLayoutId id="2147484849" r:id="rId59"/>
    <p:sldLayoutId id="2147484850" r:id="rId60"/>
    <p:sldLayoutId id="2147484851" r:id="rId61"/>
    <p:sldLayoutId id="2147484852" r:id="rId62"/>
    <p:sldLayoutId id="2147484853" r:id="rId63"/>
    <p:sldLayoutId id="2147484854" r:id="rId64"/>
    <p:sldLayoutId id="2147484855" r:id="rId65"/>
    <p:sldLayoutId id="2147484856" r:id="rId66"/>
    <p:sldLayoutId id="2147484857" r:id="rId67"/>
    <p:sldLayoutId id="2147484858" r:id="rId68"/>
    <p:sldLayoutId id="2147484859" r:id="rId69"/>
    <p:sldLayoutId id="2147484860" r:id="rId70"/>
    <p:sldLayoutId id="2147484861" r:id="rId7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spc="0" dirty="0">
          <a:solidFill>
            <a:schemeClr val="bg1"/>
          </a:solidFill>
          <a:effectLst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Arial" panose="020B0604020202020204" pitchFamily="34" charset="0"/>
        <a:buChar char="•"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Courier New" panose="02070309020205020404" pitchFamily="49" charset="0"/>
        <a:buChar char="o"/>
        <a:defRPr lang="en-US" sz="12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1">
          <p15:clr>
            <a:srgbClr val="F26B43"/>
          </p15:clr>
        </p15:guide>
        <p15:guide id="3" pos="7301">
          <p15:clr>
            <a:srgbClr val="F26B43"/>
          </p15:clr>
        </p15:guide>
        <p15:guide id="12" orient="horz" pos="3912">
          <p15:clr>
            <a:srgbClr val="F26B43"/>
          </p15:clr>
        </p15:guide>
        <p15:guide id="13" pos="826">
          <p15:clr>
            <a:srgbClr val="F26B43"/>
          </p15:clr>
        </p15:guide>
        <p15:guide id="14" pos="981">
          <p15:clr>
            <a:srgbClr val="F26B43"/>
          </p15:clr>
        </p15:guide>
        <p15:guide id="15" pos="1392">
          <p15:clr>
            <a:srgbClr val="F26B43"/>
          </p15:clr>
        </p15:guide>
        <p15:guide id="16" pos="1536">
          <p15:clr>
            <a:srgbClr val="F26B43"/>
          </p15:clr>
        </p15:guide>
        <p15:guide id="17" pos="2000">
          <p15:clr>
            <a:srgbClr val="F26B43"/>
          </p15:clr>
        </p15:guide>
        <p15:guide id="18" pos="2152">
          <p15:clr>
            <a:srgbClr val="F26B43"/>
          </p15:clr>
        </p15:guide>
        <p15:guide id="19" pos="2590">
          <p15:clr>
            <a:srgbClr val="F26B43"/>
          </p15:clr>
        </p15:guide>
        <p15:guide id="20" pos="2743">
          <p15:clr>
            <a:srgbClr val="F26B43"/>
          </p15:clr>
        </p15:guide>
        <p15:guide id="21" pos="3182">
          <p15:clr>
            <a:srgbClr val="F26B43"/>
          </p15:clr>
        </p15:guide>
        <p15:guide id="22" pos="3329">
          <p15:clr>
            <a:srgbClr val="F26B43"/>
          </p15:clr>
        </p15:guide>
        <p15:guide id="23" pos="3764">
          <p15:clr>
            <a:srgbClr val="F26B43"/>
          </p15:clr>
        </p15:guide>
        <p15:guide id="24" pos="3916">
          <p15:clr>
            <a:srgbClr val="F26B43"/>
          </p15:clr>
        </p15:guide>
        <p15:guide id="25" pos="4353">
          <p15:clr>
            <a:srgbClr val="F26B43"/>
          </p15:clr>
        </p15:guide>
        <p15:guide id="26" pos="4508">
          <p15:clr>
            <a:srgbClr val="F26B43"/>
          </p15:clr>
        </p15:guide>
        <p15:guide id="27" pos="4950">
          <p15:clr>
            <a:srgbClr val="F26B43"/>
          </p15:clr>
        </p15:guide>
        <p15:guide id="28" pos="5100">
          <p15:clr>
            <a:srgbClr val="F26B43"/>
          </p15:clr>
        </p15:guide>
        <p15:guide id="29" pos="5536">
          <p15:clr>
            <a:srgbClr val="F26B43"/>
          </p15:clr>
        </p15:guide>
        <p15:guide id="30" pos="5689">
          <p15:clr>
            <a:srgbClr val="F26B43"/>
          </p15:clr>
        </p15:guide>
        <p15:guide id="31" pos="6123">
          <p15:clr>
            <a:srgbClr val="F26B43"/>
          </p15:clr>
        </p15:guide>
        <p15:guide id="32" pos="6278">
          <p15:clr>
            <a:srgbClr val="F26B43"/>
          </p15:clr>
        </p15:guide>
        <p15:guide id="33" pos="6712">
          <p15:clr>
            <a:srgbClr val="F26B43"/>
          </p15:clr>
        </p15:guide>
        <p15:guide id="34" pos="6865">
          <p15:clr>
            <a:srgbClr val="F26B43"/>
          </p15:clr>
        </p15:guide>
        <p15:guide id="35" orient="horz" pos="984">
          <p15:clr>
            <a:srgbClr val="F26B43"/>
          </p15:clr>
        </p15:guide>
        <p15:guide id="36" orient="horz" pos="4128">
          <p15:clr>
            <a:srgbClr val="F26B43"/>
          </p15:clr>
        </p15:guide>
        <p15:guide id="37" orient="horz" pos="1080">
          <p15:clr>
            <a:srgbClr val="F26B43"/>
          </p15:clr>
        </p15:guide>
        <p15:guide id="38" orient="horz" pos="1248">
          <p15:clr>
            <a:srgbClr val="F26B43"/>
          </p15:clr>
        </p15:guide>
        <p15:guide id="39" orient="horz" pos="672">
          <p15:clr>
            <a:srgbClr val="F26B43"/>
          </p15:clr>
        </p15:guide>
        <p15:guide id="40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0713" y="717613"/>
            <a:ext cx="1096568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D14E4D-CAE3-3A0B-B3F8-465622E4D6E8}"/>
              </a:ext>
            </a:extLst>
          </p:cNvPr>
          <p:cNvPicPr>
            <a:picLocks noChangeAspect="1"/>
          </p:cNvPicPr>
          <p:nvPr/>
        </p:nvPicPr>
        <p:blipFill>
          <a:blip r:embed="rId7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6C1CD2-C3C3-99BC-1F71-5CF176EF164E}"/>
              </a:ext>
            </a:extLst>
          </p:cNvPr>
          <p:cNvSpPr txBox="1"/>
          <p:nvPr/>
        </p:nvSpPr>
        <p:spPr>
          <a:xfrm>
            <a:off x="-579120" y="45923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DDA9FD-D621-0134-9699-89AED709AC96}"/>
              </a:ext>
            </a:extLst>
          </p:cNvPr>
          <p:cNvSpPr txBox="1"/>
          <p:nvPr/>
        </p:nvSpPr>
        <p:spPr>
          <a:xfrm>
            <a:off x="4429760" y="-538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D7453A-FF25-1748-B091-91F29105A245}"/>
              </a:ext>
            </a:extLst>
          </p:cNvPr>
          <p:cNvSpPr txBox="1"/>
          <p:nvPr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E5B4CB-0A41-3758-17D3-77CB4387DBAE}"/>
              </a:ext>
            </a:extLst>
          </p:cNvPr>
          <p:cNvSpPr txBox="1">
            <a:spLocks/>
          </p:cNvSpPr>
          <p:nvPr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94283C5-7CEB-C3A6-3D15-0C58149D1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6410" y="1581502"/>
            <a:ext cx="10948386" cy="4628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1196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3" r:id="rId1"/>
    <p:sldLayoutId id="2147484864" r:id="rId2"/>
    <p:sldLayoutId id="2147484865" r:id="rId3"/>
    <p:sldLayoutId id="2147484866" r:id="rId4"/>
    <p:sldLayoutId id="2147484867" r:id="rId5"/>
    <p:sldLayoutId id="2147484868" r:id="rId6"/>
    <p:sldLayoutId id="2147484869" r:id="rId7"/>
    <p:sldLayoutId id="2147484870" r:id="rId8"/>
    <p:sldLayoutId id="2147484871" r:id="rId9"/>
    <p:sldLayoutId id="2147484872" r:id="rId10"/>
    <p:sldLayoutId id="2147484873" r:id="rId11"/>
    <p:sldLayoutId id="2147484874" r:id="rId12"/>
    <p:sldLayoutId id="2147484875" r:id="rId13"/>
    <p:sldLayoutId id="2147484876" r:id="rId14"/>
    <p:sldLayoutId id="2147484877" r:id="rId15"/>
    <p:sldLayoutId id="2147484878" r:id="rId16"/>
    <p:sldLayoutId id="2147484879" r:id="rId17"/>
    <p:sldLayoutId id="2147484880" r:id="rId18"/>
    <p:sldLayoutId id="2147484881" r:id="rId19"/>
    <p:sldLayoutId id="2147484882" r:id="rId20"/>
    <p:sldLayoutId id="2147484883" r:id="rId21"/>
    <p:sldLayoutId id="2147484884" r:id="rId22"/>
    <p:sldLayoutId id="2147484885" r:id="rId23"/>
    <p:sldLayoutId id="2147484886" r:id="rId24"/>
    <p:sldLayoutId id="2147484887" r:id="rId25"/>
    <p:sldLayoutId id="2147484888" r:id="rId26"/>
    <p:sldLayoutId id="2147484889" r:id="rId27"/>
    <p:sldLayoutId id="2147484890" r:id="rId28"/>
    <p:sldLayoutId id="2147484891" r:id="rId29"/>
    <p:sldLayoutId id="2147484892" r:id="rId30"/>
    <p:sldLayoutId id="2147484893" r:id="rId31"/>
    <p:sldLayoutId id="2147484894" r:id="rId32"/>
    <p:sldLayoutId id="2147484895" r:id="rId33"/>
    <p:sldLayoutId id="2147484896" r:id="rId34"/>
    <p:sldLayoutId id="2147484897" r:id="rId35"/>
    <p:sldLayoutId id="2147484898" r:id="rId36"/>
    <p:sldLayoutId id="2147484899" r:id="rId37"/>
    <p:sldLayoutId id="2147484900" r:id="rId38"/>
    <p:sldLayoutId id="2147484901" r:id="rId39"/>
    <p:sldLayoutId id="2147484902" r:id="rId40"/>
    <p:sldLayoutId id="2147484903" r:id="rId41"/>
    <p:sldLayoutId id="2147484904" r:id="rId42"/>
    <p:sldLayoutId id="2147484905" r:id="rId43"/>
    <p:sldLayoutId id="2147484906" r:id="rId44"/>
    <p:sldLayoutId id="2147484907" r:id="rId45"/>
    <p:sldLayoutId id="2147484908" r:id="rId46"/>
    <p:sldLayoutId id="2147484909" r:id="rId47"/>
    <p:sldLayoutId id="2147484910" r:id="rId48"/>
    <p:sldLayoutId id="2147484911" r:id="rId49"/>
    <p:sldLayoutId id="2147484912" r:id="rId50"/>
    <p:sldLayoutId id="2147484913" r:id="rId51"/>
    <p:sldLayoutId id="2147484914" r:id="rId52"/>
    <p:sldLayoutId id="2147484915" r:id="rId53"/>
    <p:sldLayoutId id="2147484916" r:id="rId54"/>
    <p:sldLayoutId id="2147484917" r:id="rId55"/>
    <p:sldLayoutId id="2147484918" r:id="rId56"/>
    <p:sldLayoutId id="2147484919" r:id="rId57"/>
    <p:sldLayoutId id="2147484920" r:id="rId58"/>
    <p:sldLayoutId id="2147484921" r:id="rId59"/>
    <p:sldLayoutId id="2147484922" r:id="rId60"/>
    <p:sldLayoutId id="2147484923" r:id="rId61"/>
    <p:sldLayoutId id="2147484924" r:id="rId62"/>
    <p:sldLayoutId id="2147484925" r:id="rId63"/>
    <p:sldLayoutId id="2147484926" r:id="rId64"/>
    <p:sldLayoutId id="2147484927" r:id="rId65"/>
    <p:sldLayoutId id="2147484928" r:id="rId66"/>
    <p:sldLayoutId id="2147484929" r:id="rId67"/>
    <p:sldLayoutId id="2147484930" r:id="rId68"/>
    <p:sldLayoutId id="2147484931" r:id="rId69"/>
    <p:sldLayoutId id="2147484932" r:id="rId70"/>
    <p:sldLayoutId id="2147484933" r:id="rId71"/>
    <p:sldLayoutId id="2147484934" r:id="rId72"/>
    <p:sldLayoutId id="2147484935" r:id="rId7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spc="0" dirty="0">
          <a:solidFill>
            <a:schemeClr val="bg1"/>
          </a:solidFill>
          <a:effectLst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Arial" panose="020B0604020202020204" pitchFamily="34" charset="0"/>
        <a:buChar char="•"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Courier New" panose="02070309020205020404" pitchFamily="49" charset="0"/>
        <a:buChar char="o"/>
        <a:defRPr lang="en-US" sz="12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1">
          <p15:clr>
            <a:srgbClr val="F26B43"/>
          </p15:clr>
        </p15:guide>
        <p15:guide id="3" pos="7301">
          <p15:clr>
            <a:srgbClr val="F26B43"/>
          </p15:clr>
        </p15:guide>
        <p15:guide id="12" orient="horz" pos="3912">
          <p15:clr>
            <a:srgbClr val="F26B43"/>
          </p15:clr>
        </p15:guide>
        <p15:guide id="13" pos="826">
          <p15:clr>
            <a:srgbClr val="F26B43"/>
          </p15:clr>
        </p15:guide>
        <p15:guide id="14" pos="981">
          <p15:clr>
            <a:srgbClr val="F26B43"/>
          </p15:clr>
        </p15:guide>
        <p15:guide id="15" pos="1392">
          <p15:clr>
            <a:srgbClr val="F26B43"/>
          </p15:clr>
        </p15:guide>
        <p15:guide id="16" pos="1536">
          <p15:clr>
            <a:srgbClr val="F26B43"/>
          </p15:clr>
        </p15:guide>
        <p15:guide id="17" pos="2000">
          <p15:clr>
            <a:srgbClr val="F26B43"/>
          </p15:clr>
        </p15:guide>
        <p15:guide id="18" pos="2152">
          <p15:clr>
            <a:srgbClr val="F26B43"/>
          </p15:clr>
        </p15:guide>
        <p15:guide id="19" pos="2590">
          <p15:clr>
            <a:srgbClr val="F26B43"/>
          </p15:clr>
        </p15:guide>
        <p15:guide id="20" pos="2743">
          <p15:clr>
            <a:srgbClr val="F26B43"/>
          </p15:clr>
        </p15:guide>
        <p15:guide id="21" pos="3182">
          <p15:clr>
            <a:srgbClr val="F26B43"/>
          </p15:clr>
        </p15:guide>
        <p15:guide id="22" pos="3329">
          <p15:clr>
            <a:srgbClr val="F26B43"/>
          </p15:clr>
        </p15:guide>
        <p15:guide id="23" pos="3764">
          <p15:clr>
            <a:srgbClr val="F26B43"/>
          </p15:clr>
        </p15:guide>
        <p15:guide id="24" pos="3916">
          <p15:clr>
            <a:srgbClr val="F26B43"/>
          </p15:clr>
        </p15:guide>
        <p15:guide id="25" pos="4353">
          <p15:clr>
            <a:srgbClr val="F26B43"/>
          </p15:clr>
        </p15:guide>
        <p15:guide id="26" pos="4508">
          <p15:clr>
            <a:srgbClr val="F26B43"/>
          </p15:clr>
        </p15:guide>
        <p15:guide id="27" pos="4950">
          <p15:clr>
            <a:srgbClr val="F26B43"/>
          </p15:clr>
        </p15:guide>
        <p15:guide id="28" pos="5100">
          <p15:clr>
            <a:srgbClr val="F26B43"/>
          </p15:clr>
        </p15:guide>
        <p15:guide id="29" pos="5536">
          <p15:clr>
            <a:srgbClr val="F26B43"/>
          </p15:clr>
        </p15:guide>
        <p15:guide id="30" pos="5689">
          <p15:clr>
            <a:srgbClr val="F26B43"/>
          </p15:clr>
        </p15:guide>
        <p15:guide id="31" pos="6123">
          <p15:clr>
            <a:srgbClr val="F26B43"/>
          </p15:clr>
        </p15:guide>
        <p15:guide id="32" pos="6278">
          <p15:clr>
            <a:srgbClr val="F26B43"/>
          </p15:clr>
        </p15:guide>
        <p15:guide id="33" pos="6712">
          <p15:clr>
            <a:srgbClr val="F26B43"/>
          </p15:clr>
        </p15:guide>
        <p15:guide id="34" pos="6865">
          <p15:clr>
            <a:srgbClr val="F26B43"/>
          </p15:clr>
        </p15:guide>
        <p15:guide id="35" orient="horz" pos="984">
          <p15:clr>
            <a:srgbClr val="F26B43"/>
          </p15:clr>
        </p15:guide>
        <p15:guide id="36" orient="horz" pos="4128">
          <p15:clr>
            <a:srgbClr val="F26B43"/>
          </p15:clr>
        </p15:guide>
        <p15:guide id="37" orient="horz" pos="1080">
          <p15:clr>
            <a:srgbClr val="F26B43"/>
          </p15:clr>
        </p15:guide>
        <p15:guide id="38" orient="horz" pos="1248">
          <p15:clr>
            <a:srgbClr val="F26B43"/>
          </p15:clr>
        </p15:guide>
        <p15:guide id="39" orient="horz" pos="672">
          <p15:clr>
            <a:srgbClr val="F26B43"/>
          </p15:clr>
        </p15:guide>
        <p15:guide id="40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0713" y="717613"/>
            <a:ext cx="10965687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D14E4D-CAE3-3A0B-B3F8-465622E4D6E8}"/>
              </a:ext>
            </a:extLst>
          </p:cNvPr>
          <p:cNvPicPr>
            <a:picLocks noChangeAspect="1"/>
          </p:cNvPicPr>
          <p:nvPr userDrawn="1"/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6C1CD2-C3C3-99BC-1F71-5CF176EF164E}"/>
              </a:ext>
            </a:extLst>
          </p:cNvPr>
          <p:cNvSpPr txBox="1"/>
          <p:nvPr userDrawn="1"/>
        </p:nvSpPr>
        <p:spPr>
          <a:xfrm>
            <a:off x="-579120" y="45923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>
              <a:ea typeface="Human Sans" charset="0"/>
              <a:cs typeface="Human Sans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DDA9FD-D621-0134-9699-89AED709AC96}"/>
              </a:ext>
            </a:extLst>
          </p:cNvPr>
          <p:cNvSpPr txBox="1"/>
          <p:nvPr userDrawn="1"/>
        </p:nvSpPr>
        <p:spPr>
          <a:xfrm>
            <a:off x="4429760" y="-538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>
              <a:ea typeface="Human Sans" charset="0"/>
              <a:cs typeface="Human Sans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D7453A-FF25-1748-B091-91F29105A245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E5B4CB-0A41-3758-17D3-77CB4387DBAE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94283C5-7CEB-C3A6-3D15-0C58149D1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6410" y="1581502"/>
            <a:ext cx="10948386" cy="4628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7718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7" r:id="rId1"/>
    <p:sldLayoutId id="2147484938" r:id="rId2"/>
    <p:sldLayoutId id="2147484939" r:id="rId3"/>
    <p:sldLayoutId id="2147484940" r:id="rId4"/>
    <p:sldLayoutId id="2147484941" r:id="rId5"/>
    <p:sldLayoutId id="2147484942" r:id="rId6"/>
    <p:sldLayoutId id="2147484943" r:id="rId7"/>
    <p:sldLayoutId id="2147484944" r:id="rId8"/>
    <p:sldLayoutId id="2147484945" r:id="rId9"/>
    <p:sldLayoutId id="2147484946" r:id="rId10"/>
    <p:sldLayoutId id="2147484947" r:id="rId11"/>
    <p:sldLayoutId id="2147484948" r:id="rId12"/>
    <p:sldLayoutId id="2147484949" r:id="rId13"/>
    <p:sldLayoutId id="2147484950" r:id="rId14"/>
    <p:sldLayoutId id="2147484951" r:id="rId15"/>
    <p:sldLayoutId id="2147484952" r:id="rId16"/>
    <p:sldLayoutId id="2147484953" r:id="rId17"/>
    <p:sldLayoutId id="2147484954" r:id="rId18"/>
    <p:sldLayoutId id="2147484955" r:id="rId19"/>
    <p:sldLayoutId id="2147484956" r:id="rId20"/>
    <p:sldLayoutId id="2147484957" r:id="rId21"/>
    <p:sldLayoutId id="2147484958" r:id="rId22"/>
    <p:sldLayoutId id="2147484959" r:id="rId23"/>
    <p:sldLayoutId id="2147484960" r:id="rId24"/>
    <p:sldLayoutId id="2147484961" r:id="rId25"/>
    <p:sldLayoutId id="2147484962" r:id="rId26"/>
    <p:sldLayoutId id="2147484963" r:id="rId27"/>
    <p:sldLayoutId id="2147484964" r:id="rId28"/>
    <p:sldLayoutId id="2147484965" r:id="rId29"/>
    <p:sldLayoutId id="2147484966" r:id="rId30"/>
    <p:sldLayoutId id="2147484967" r:id="rId31"/>
    <p:sldLayoutId id="2147484968" r:id="rId32"/>
    <p:sldLayoutId id="2147484969" r:id="rId33"/>
    <p:sldLayoutId id="2147484970" r:id="rId34"/>
    <p:sldLayoutId id="2147484971" r:id="rId35"/>
    <p:sldLayoutId id="2147484972" r:id="rId36"/>
    <p:sldLayoutId id="2147484973" r:id="rId37"/>
    <p:sldLayoutId id="2147484974" r:id="rId38"/>
    <p:sldLayoutId id="2147484975" r:id="rId39"/>
    <p:sldLayoutId id="2147484976" r:id="rId40"/>
    <p:sldLayoutId id="2147484977" r:id="rId41"/>
    <p:sldLayoutId id="2147484978" r:id="rId42"/>
    <p:sldLayoutId id="2147484979" r:id="rId43"/>
    <p:sldLayoutId id="2147484980" r:id="rId44"/>
    <p:sldLayoutId id="2147484981" r:id="rId45"/>
    <p:sldLayoutId id="2147484982" r:id="rId46"/>
    <p:sldLayoutId id="2147484983" r:id="rId47"/>
    <p:sldLayoutId id="2147484984" r:id="rId48"/>
    <p:sldLayoutId id="2147484985" r:id="rId49"/>
    <p:sldLayoutId id="2147484986" r:id="rId50"/>
    <p:sldLayoutId id="2147484987" r:id="rId51"/>
    <p:sldLayoutId id="2147484988" r:id="rId52"/>
    <p:sldLayoutId id="2147484989" r:id="rId53"/>
    <p:sldLayoutId id="2147484990" r:id="rId54"/>
    <p:sldLayoutId id="2147484991" r:id="rId55"/>
    <p:sldLayoutId id="2147484992" r:id="rId56"/>
    <p:sldLayoutId id="2147484993" r:id="rId57"/>
    <p:sldLayoutId id="2147484994" r:id="rId58"/>
    <p:sldLayoutId id="2147484995" r:id="rId59"/>
    <p:sldLayoutId id="2147484996" r:id="rId60"/>
    <p:sldLayoutId id="2147484997" r:id="rId61"/>
    <p:sldLayoutId id="2147484998" r:id="rId62"/>
    <p:sldLayoutId id="2147484999" r:id="rId63"/>
    <p:sldLayoutId id="2147485000" r:id="rId64"/>
    <p:sldLayoutId id="2147485001" r:id="rId65"/>
    <p:sldLayoutId id="2147485002" r:id="rId66"/>
    <p:sldLayoutId id="2147485003" r:id="rId67"/>
    <p:sldLayoutId id="2147485004" r:id="rId68"/>
    <p:sldLayoutId id="2147485005" r:id="rId69"/>
    <p:sldLayoutId id="2147485006" r:id="rId70"/>
    <p:sldLayoutId id="2147485007" r:id="rId71"/>
    <p:sldLayoutId id="2147485008" r:id="rId72"/>
    <p:sldLayoutId id="2147485009" r:id="rId73"/>
    <p:sldLayoutId id="2147485010" r:id="rId74"/>
    <p:sldLayoutId id="2147485011" r:id="rId75"/>
    <p:sldLayoutId id="2147485012" r:id="rId7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spc="0" dirty="0">
          <a:solidFill>
            <a:schemeClr val="bg1"/>
          </a:solidFill>
          <a:effectLst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Arial" panose="020B0604020202020204" pitchFamily="34" charset="0"/>
        <a:buChar char="•"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Courier New" panose="02070309020205020404" pitchFamily="49" charset="0"/>
        <a:buChar char="o"/>
        <a:defRPr lang="en-US" sz="12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1">
          <p15:clr>
            <a:srgbClr val="F26B43"/>
          </p15:clr>
        </p15:guide>
        <p15:guide id="3" pos="7301">
          <p15:clr>
            <a:srgbClr val="F26B43"/>
          </p15:clr>
        </p15:guide>
        <p15:guide id="12" orient="horz" pos="3912">
          <p15:clr>
            <a:srgbClr val="F26B43"/>
          </p15:clr>
        </p15:guide>
        <p15:guide id="13" pos="826">
          <p15:clr>
            <a:srgbClr val="F26B43"/>
          </p15:clr>
        </p15:guide>
        <p15:guide id="14" pos="981">
          <p15:clr>
            <a:srgbClr val="F26B43"/>
          </p15:clr>
        </p15:guide>
        <p15:guide id="15" pos="1392">
          <p15:clr>
            <a:srgbClr val="F26B43"/>
          </p15:clr>
        </p15:guide>
        <p15:guide id="16" pos="1536">
          <p15:clr>
            <a:srgbClr val="F26B43"/>
          </p15:clr>
        </p15:guide>
        <p15:guide id="17" pos="2000">
          <p15:clr>
            <a:srgbClr val="F26B43"/>
          </p15:clr>
        </p15:guide>
        <p15:guide id="18" pos="2152">
          <p15:clr>
            <a:srgbClr val="F26B43"/>
          </p15:clr>
        </p15:guide>
        <p15:guide id="19" pos="2590">
          <p15:clr>
            <a:srgbClr val="F26B43"/>
          </p15:clr>
        </p15:guide>
        <p15:guide id="20" pos="2743">
          <p15:clr>
            <a:srgbClr val="F26B43"/>
          </p15:clr>
        </p15:guide>
        <p15:guide id="21" pos="3182">
          <p15:clr>
            <a:srgbClr val="F26B43"/>
          </p15:clr>
        </p15:guide>
        <p15:guide id="22" pos="3329">
          <p15:clr>
            <a:srgbClr val="F26B43"/>
          </p15:clr>
        </p15:guide>
        <p15:guide id="23" pos="3764">
          <p15:clr>
            <a:srgbClr val="F26B43"/>
          </p15:clr>
        </p15:guide>
        <p15:guide id="24" pos="3916">
          <p15:clr>
            <a:srgbClr val="F26B43"/>
          </p15:clr>
        </p15:guide>
        <p15:guide id="25" pos="4353">
          <p15:clr>
            <a:srgbClr val="F26B43"/>
          </p15:clr>
        </p15:guide>
        <p15:guide id="26" pos="4508">
          <p15:clr>
            <a:srgbClr val="F26B43"/>
          </p15:clr>
        </p15:guide>
        <p15:guide id="27" pos="4950">
          <p15:clr>
            <a:srgbClr val="F26B43"/>
          </p15:clr>
        </p15:guide>
        <p15:guide id="28" pos="5100">
          <p15:clr>
            <a:srgbClr val="F26B43"/>
          </p15:clr>
        </p15:guide>
        <p15:guide id="29" pos="5536">
          <p15:clr>
            <a:srgbClr val="F26B43"/>
          </p15:clr>
        </p15:guide>
        <p15:guide id="30" pos="5689">
          <p15:clr>
            <a:srgbClr val="F26B43"/>
          </p15:clr>
        </p15:guide>
        <p15:guide id="31" pos="6123">
          <p15:clr>
            <a:srgbClr val="F26B43"/>
          </p15:clr>
        </p15:guide>
        <p15:guide id="32" pos="6278">
          <p15:clr>
            <a:srgbClr val="F26B43"/>
          </p15:clr>
        </p15:guide>
        <p15:guide id="33" pos="6712">
          <p15:clr>
            <a:srgbClr val="F26B43"/>
          </p15:clr>
        </p15:guide>
        <p15:guide id="34" pos="6865">
          <p15:clr>
            <a:srgbClr val="F26B43"/>
          </p15:clr>
        </p15:guide>
        <p15:guide id="35" orient="horz" pos="984">
          <p15:clr>
            <a:srgbClr val="F26B43"/>
          </p15:clr>
        </p15:guide>
        <p15:guide id="36" orient="horz" pos="4128">
          <p15:clr>
            <a:srgbClr val="F26B43"/>
          </p15:clr>
        </p15:guide>
        <p15:guide id="37" orient="horz" pos="1080">
          <p15:clr>
            <a:srgbClr val="F26B43"/>
          </p15:clr>
        </p15:guide>
        <p15:guide id="38" orient="horz" pos="1248">
          <p15:clr>
            <a:srgbClr val="F26B43"/>
          </p15:clr>
        </p15:guide>
        <p15:guide id="39" orient="horz" pos="672">
          <p15:clr>
            <a:srgbClr val="F26B43"/>
          </p15:clr>
        </p15:guide>
        <p15:guide id="40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3F7680D-EA24-DB03-1D6B-B2F0268B5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5"/>
            </p:custDataLst>
            <p:extLst>
              <p:ext uri="{D42A27DB-BD31-4B8C-83A1-F6EECF244321}">
                <p14:modId xmlns:p14="http://schemas.microsoft.com/office/powerpoint/2010/main" val="160746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6" imgW="606" imgH="608" progId="TCLayout.ActiveDocument.1">
                  <p:embed/>
                </p:oleObj>
              </mc:Choice>
              <mc:Fallback>
                <p:oleObj name="think-cell Folie" r:id="rId116" imgW="606" imgH="6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3F7680D-EA24-DB03-1D6B-B2F0268B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0713" y="717613"/>
            <a:ext cx="10965687" cy="338554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D14E4D-CAE3-3A0B-B3F8-465622E4D6E8}"/>
              </a:ext>
            </a:extLst>
          </p:cNvPr>
          <p:cNvPicPr>
            <a:picLocks noChangeAspect="1"/>
          </p:cNvPicPr>
          <p:nvPr userDrawn="1"/>
        </p:nvPicPr>
        <p:blipFill>
          <a:blip r:embed="rId1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699" y="6416865"/>
            <a:ext cx="488145" cy="1794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6C1CD2-C3C3-99BC-1F71-5CF176EF164E}"/>
              </a:ext>
            </a:extLst>
          </p:cNvPr>
          <p:cNvSpPr txBox="1"/>
          <p:nvPr userDrawn="1"/>
        </p:nvSpPr>
        <p:spPr>
          <a:xfrm>
            <a:off x="-579120" y="45923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5DDA9FD-D621-0134-9699-89AED709AC96}"/>
              </a:ext>
            </a:extLst>
          </p:cNvPr>
          <p:cNvSpPr txBox="1"/>
          <p:nvPr userDrawn="1"/>
        </p:nvSpPr>
        <p:spPr>
          <a:xfrm>
            <a:off x="4429760" y="-538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200" err="1">
              <a:ea typeface="Human Sans" charset="0"/>
              <a:cs typeface="Human Sans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D7453A-FF25-1748-B091-91F29105A245}"/>
              </a:ext>
            </a:extLst>
          </p:cNvPr>
          <p:cNvSpPr txBox="1"/>
          <p:nvPr userDrawn="1"/>
        </p:nvSpPr>
        <p:spPr>
          <a:xfrm>
            <a:off x="9517294" y="6406591"/>
            <a:ext cx="1723301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bg1"/>
                </a:solidFill>
              </a:rPr>
              <a:t>EPAM Proprietary &amp; Confidential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E5B4CB-0A41-3758-17D3-77CB4387DBAE}"/>
              </a:ext>
            </a:extLst>
          </p:cNvPr>
          <p:cNvSpPr txBox="1">
            <a:spLocks/>
          </p:cNvSpPr>
          <p:nvPr userDrawn="1"/>
        </p:nvSpPr>
        <p:spPr>
          <a:xfrm>
            <a:off x="1134186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94283C5-7CEB-C3A6-3D15-0C58149D1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6410" y="1581502"/>
            <a:ext cx="10948386" cy="4628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44668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4" r:id="rId1"/>
    <p:sldLayoutId id="2147485015" r:id="rId2"/>
    <p:sldLayoutId id="2147485016" r:id="rId3"/>
    <p:sldLayoutId id="2147485017" r:id="rId4"/>
    <p:sldLayoutId id="2147485018" r:id="rId5"/>
    <p:sldLayoutId id="2147485019" r:id="rId6"/>
    <p:sldLayoutId id="2147485020" r:id="rId7"/>
    <p:sldLayoutId id="2147485021" r:id="rId8"/>
    <p:sldLayoutId id="2147485022" r:id="rId9"/>
    <p:sldLayoutId id="2147485023" r:id="rId10"/>
    <p:sldLayoutId id="2147485024" r:id="rId11"/>
    <p:sldLayoutId id="2147485025" r:id="rId12"/>
    <p:sldLayoutId id="2147485026" r:id="rId13"/>
    <p:sldLayoutId id="2147485027" r:id="rId14"/>
    <p:sldLayoutId id="2147485028" r:id="rId15"/>
    <p:sldLayoutId id="2147485029" r:id="rId16"/>
    <p:sldLayoutId id="2147485030" r:id="rId17"/>
    <p:sldLayoutId id="2147485031" r:id="rId18"/>
    <p:sldLayoutId id="2147485032" r:id="rId19"/>
    <p:sldLayoutId id="2147485033" r:id="rId20"/>
    <p:sldLayoutId id="2147485034" r:id="rId21"/>
    <p:sldLayoutId id="2147485035" r:id="rId22"/>
    <p:sldLayoutId id="2147485036" r:id="rId23"/>
    <p:sldLayoutId id="2147485037" r:id="rId24"/>
    <p:sldLayoutId id="2147485038" r:id="rId25"/>
    <p:sldLayoutId id="2147485039" r:id="rId26"/>
    <p:sldLayoutId id="2147485040" r:id="rId27"/>
    <p:sldLayoutId id="2147485041" r:id="rId28"/>
    <p:sldLayoutId id="2147485042" r:id="rId29"/>
    <p:sldLayoutId id="2147485043" r:id="rId30"/>
    <p:sldLayoutId id="2147485044" r:id="rId31"/>
    <p:sldLayoutId id="2147485045" r:id="rId32"/>
    <p:sldLayoutId id="2147485046" r:id="rId33"/>
    <p:sldLayoutId id="2147485047" r:id="rId34"/>
    <p:sldLayoutId id="2147485048" r:id="rId35"/>
    <p:sldLayoutId id="2147485049" r:id="rId36"/>
    <p:sldLayoutId id="2147485050" r:id="rId37"/>
    <p:sldLayoutId id="2147485051" r:id="rId38"/>
    <p:sldLayoutId id="2147485052" r:id="rId39"/>
    <p:sldLayoutId id="2147485053" r:id="rId40"/>
    <p:sldLayoutId id="2147485054" r:id="rId41"/>
    <p:sldLayoutId id="2147485055" r:id="rId42"/>
    <p:sldLayoutId id="2147485056" r:id="rId43"/>
    <p:sldLayoutId id="2147485057" r:id="rId44"/>
    <p:sldLayoutId id="2147485058" r:id="rId45"/>
    <p:sldLayoutId id="2147485059" r:id="rId46"/>
    <p:sldLayoutId id="2147485060" r:id="rId47"/>
    <p:sldLayoutId id="2147485061" r:id="rId48"/>
    <p:sldLayoutId id="2147485062" r:id="rId49"/>
    <p:sldLayoutId id="2147485063" r:id="rId50"/>
    <p:sldLayoutId id="2147485064" r:id="rId51"/>
    <p:sldLayoutId id="2147485065" r:id="rId52"/>
    <p:sldLayoutId id="2147485066" r:id="rId53"/>
    <p:sldLayoutId id="2147485067" r:id="rId54"/>
    <p:sldLayoutId id="2147485068" r:id="rId55"/>
    <p:sldLayoutId id="2147485069" r:id="rId56"/>
    <p:sldLayoutId id="2147485070" r:id="rId57"/>
    <p:sldLayoutId id="2147485071" r:id="rId58"/>
    <p:sldLayoutId id="2147485072" r:id="rId59"/>
    <p:sldLayoutId id="2147485073" r:id="rId60"/>
    <p:sldLayoutId id="2147485074" r:id="rId61"/>
    <p:sldLayoutId id="2147485075" r:id="rId62"/>
    <p:sldLayoutId id="2147485076" r:id="rId63"/>
    <p:sldLayoutId id="2147485077" r:id="rId64"/>
    <p:sldLayoutId id="2147485078" r:id="rId65"/>
    <p:sldLayoutId id="2147485079" r:id="rId66"/>
    <p:sldLayoutId id="2147485080" r:id="rId67"/>
    <p:sldLayoutId id="2147485081" r:id="rId68"/>
    <p:sldLayoutId id="2147485082" r:id="rId69"/>
    <p:sldLayoutId id="2147485083" r:id="rId70"/>
    <p:sldLayoutId id="2147485084" r:id="rId71"/>
    <p:sldLayoutId id="2147485085" r:id="rId72"/>
    <p:sldLayoutId id="2147485086" r:id="rId73"/>
    <p:sldLayoutId id="2147485087" r:id="rId74"/>
    <p:sldLayoutId id="2147485088" r:id="rId75"/>
    <p:sldLayoutId id="2147485089" r:id="rId76"/>
    <p:sldLayoutId id="2147485090" r:id="rId77"/>
    <p:sldLayoutId id="2147485091" r:id="rId78"/>
    <p:sldLayoutId id="2147485092" r:id="rId79"/>
    <p:sldLayoutId id="2147485093" r:id="rId80"/>
    <p:sldLayoutId id="2147485094" r:id="rId81"/>
    <p:sldLayoutId id="2147485095" r:id="rId82"/>
    <p:sldLayoutId id="2147485096" r:id="rId83"/>
    <p:sldLayoutId id="2147485097" r:id="rId84"/>
    <p:sldLayoutId id="2147485098" r:id="rId85"/>
    <p:sldLayoutId id="2147485099" r:id="rId86"/>
    <p:sldLayoutId id="2147485100" r:id="rId87"/>
    <p:sldLayoutId id="2147485101" r:id="rId88"/>
    <p:sldLayoutId id="2147485102" r:id="rId89"/>
    <p:sldLayoutId id="2147485103" r:id="rId90"/>
    <p:sldLayoutId id="2147485104" r:id="rId91"/>
    <p:sldLayoutId id="2147485105" r:id="rId92"/>
    <p:sldLayoutId id="2147485106" r:id="rId93"/>
    <p:sldLayoutId id="2147485107" r:id="rId94"/>
    <p:sldLayoutId id="2147485109" r:id="rId95"/>
    <p:sldLayoutId id="2147485110" r:id="rId96"/>
    <p:sldLayoutId id="2147485111" r:id="rId97"/>
    <p:sldLayoutId id="2147485112" r:id="rId98"/>
    <p:sldLayoutId id="2147485113" r:id="rId99"/>
    <p:sldLayoutId id="2147485114" r:id="rId100"/>
    <p:sldLayoutId id="2147485115" r:id="rId101"/>
    <p:sldLayoutId id="2147485116" r:id="rId102"/>
    <p:sldLayoutId id="2147485117" r:id="rId103"/>
    <p:sldLayoutId id="2147485118" r:id="rId104"/>
    <p:sldLayoutId id="2147485119" r:id="rId105"/>
    <p:sldLayoutId id="2147485120" r:id="rId106"/>
    <p:sldLayoutId id="2147485121" r:id="rId107"/>
    <p:sldLayoutId id="2147485122" r:id="rId108"/>
    <p:sldLayoutId id="2147485123" r:id="rId109"/>
    <p:sldLayoutId id="2147485124" r:id="rId110"/>
    <p:sldLayoutId id="2147485125" r:id="rId111"/>
    <p:sldLayoutId id="2147485126" r:id="rId112"/>
    <p:sldLayoutId id="2147485127" r:id="rId1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spc="0" dirty="0">
          <a:solidFill>
            <a:schemeClr val="bg1"/>
          </a:solidFill>
          <a:effectLst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Arial" panose="020B0604020202020204" pitchFamily="34" charset="0"/>
        <a:buChar char="•"/>
        <a:defRPr lang="en-US" sz="14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1"/>
        </a:buClr>
        <a:buFont typeface="Courier New" panose="02070309020205020404" pitchFamily="49" charset="0"/>
        <a:buChar char="o"/>
        <a:defRPr lang="en-US" sz="1200" b="0" i="0" kern="1200" dirty="0">
          <a:solidFill>
            <a:schemeClr val="bg1"/>
          </a:solidFill>
          <a:latin typeface="Calibri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lang="en-US" sz="1200" b="0" i="0" kern="1200" dirty="0">
          <a:solidFill>
            <a:schemeClr val="bg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1">
          <p15:clr>
            <a:srgbClr val="F26B43"/>
          </p15:clr>
        </p15:guide>
        <p15:guide id="3" pos="7301">
          <p15:clr>
            <a:srgbClr val="F26B43"/>
          </p15:clr>
        </p15:guide>
        <p15:guide id="12" orient="horz" pos="3912">
          <p15:clr>
            <a:srgbClr val="F26B43"/>
          </p15:clr>
        </p15:guide>
        <p15:guide id="13" pos="826">
          <p15:clr>
            <a:srgbClr val="F26B43"/>
          </p15:clr>
        </p15:guide>
        <p15:guide id="14" pos="981">
          <p15:clr>
            <a:srgbClr val="F26B43"/>
          </p15:clr>
        </p15:guide>
        <p15:guide id="15" pos="1392">
          <p15:clr>
            <a:srgbClr val="F26B43"/>
          </p15:clr>
        </p15:guide>
        <p15:guide id="16" pos="1536">
          <p15:clr>
            <a:srgbClr val="F26B43"/>
          </p15:clr>
        </p15:guide>
        <p15:guide id="17" pos="2000">
          <p15:clr>
            <a:srgbClr val="F26B43"/>
          </p15:clr>
        </p15:guide>
        <p15:guide id="18" pos="2152">
          <p15:clr>
            <a:srgbClr val="F26B43"/>
          </p15:clr>
        </p15:guide>
        <p15:guide id="19" pos="2590">
          <p15:clr>
            <a:srgbClr val="F26B43"/>
          </p15:clr>
        </p15:guide>
        <p15:guide id="20" pos="2743">
          <p15:clr>
            <a:srgbClr val="F26B43"/>
          </p15:clr>
        </p15:guide>
        <p15:guide id="21" pos="3182">
          <p15:clr>
            <a:srgbClr val="F26B43"/>
          </p15:clr>
        </p15:guide>
        <p15:guide id="22" pos="3329">
          <p15:clr>
            <a:srgbClr val="F26B43"/>
          </p15:clr>
        </p15:guide>
        <p15:guide id="23" pos="3764">
          <p15:clr>
            <a:srgbClr val="F26B43"/>
          </p15:clr>
        </p15:guide>
        <p15:guide id="24" pos="3916">
          <p15:clr>
            <a:srgbClr val="F26B43"/>
          </p15:clr>
        </p15:guide>
        <p15:guide id="25" pos="4353">
          <p15:clr>
            <a:srgbClr val="F26B43"/>
          </p15:clr>
        </p15:guide>
        <p15:guide id="26" pos="4508">
          <p15:clr>
            <a:srgbClr val="F26B43"/>
          </p15:clr>
        </p15:guide>
        <p15:guide id="27" pos="4950">
          <p15:clr>
            <a:srgbClr val="F26B43"/>
          </p15:clr>
        </p15:guide>
        <p15:guide id="28" pos="5100">
          <p15:clr>
            <a:srgbClr val="F26B43"/>
          </p15:clr>
        </p15:guide>
        <p15:guide id="29" pos="5536">
          <p15:clr>
            <a:srgbClr val="F26B43"/>
          </p15:clr>
        </p15:guide>
        <p15:guide id="30" pos="5689">
          <p15:clr>
            <a:srgbClr val="F26B43"/>
          </p15:clr>
        </p15:guide>
        <p15:guide id="31" pos="6123">
          <p15:clr>
            <a:srgbClr val="F26B43"/>
          </p15:clr>
        </p15:guide>
        <p15:guide id="32" pos="6278">
          <p15:clr>
            <a:srgbClr val="F26B43"/>
          </p15:clr>
        </p15:guide>
        <p15:guide id="33" pos="6712">
          <p15:clr>
            <a:srgbClr val="F26B43"/>
          </p15:clr>
        </p15:guide>
        <p15:guide id="34" pos="6865">
          <p15:clr>
            <a:srgbClr val="F26B43"/>
          </p15:clr>
        </p15:guide>
        <p15:guide id="35" orient="horz" pos="984">
          <p15:clr>
            <a:srgbClr val="F26B43"/>
          </p15:clr>
        </p15:guide>
        <p15:guide id="36" orient="horz" pos="4128">
          <p15:clr>
            <a:srgbClr val="F26B43"/>
          </p15:clr>
        </p15:guide>
        <p15:guide id="37" orient="horz" pos="1080">
          <p15:clr>
            <a:srgbClr val="F26B43"/>
          </p15:clr>
        </p15:guide>
        <p15:guide id="38" orient="horz" pos="1248">
          <p15:clr>
            <a:srgbClr val="F26B43"/>
          </p15:clr>
        </p15:guide>
        <p15:guide id="39" orient="horz" pos="672">
          <p15:clr>
            <a:srgbClr val="F26B43"/>
          </p15:clr>
        </p15:guide>
        <p15:guide id="40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23899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/>
        </p:nvSpPr>
        <p:spPr>
          <a:xfrm>
            <a:off x="10048875" y="6406590"/>
            <a:ext cx="1396815" cy="222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n-US">
                <a:solidFill>
                  <a:schemeClr val="tx1"/>
                </a:solidFill>
              </a:rPr>
              <a:t>EPAM Proprietary &amp; Confidential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/>
              <a:pPr lvl="0"/>
              <a:t>‹#›</a:t>
            </a:fld>
            <a:endParaRPr lang="en-US" sz="1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3A0289-E5C4-74D3-46E5-CB49BE9022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139" y="1680713"/>
            <a:ext cx="11267660" cy="44914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C6E5EBEF-9978-E86F-6CE3-D20062C1AAD7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55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9" r:id="rId1"/>
    <p:sldLayoutId id="2147485130" r:id="rId2"/>
    <p:sldLayoutId id="2147485131" r:id="rId3"/>
    <p:sldLayoutId id="2147485132" r:id="rId4"/>
    <p:sldLayoutId id="2147485133" r:id="rId5"/>
    <p:sldLayoutId id="2147485134" r:id="rId6"/>
    <p:sldLayoutId id="2147485135" r:id="rId7"/>
    <p:sldLayoutId id="2147485136" r:id="rId8"/>
    <p:sldLayoutId id="2147485137" r:id="rId9"/>
    <p:sldLayoutId id="2147485138" r:id="rId10"/>
    <p:sldLayoutId id="2147485139" r:id="rId11"/>
    <p:sldLayoutId id="2147485140" r:id="rId12"/>
    <p:sldLayoutId id="2147485141" r:id="rId13"/>
    <p:sldLayoutId id="2147485142" r:id="rId14"/>
    <p:sldLayoutId id="2147485143" r:id="rId15"/>
    <p:sldLayoutId id="2147485144" r:id="rId16"/>
    <p:sldLayoutId id="2147485145" r:id="rId17"/>
    <p:sldLayoutId id="2147485146" r:id="rId18"/>
    <p:sldLayoutId id="2147485147" r:id="rId19"/>
    <p:sldLayoutId id="2147485148" r:id="rId20"/>
    <p:sldLayoutId id="2147485149" r:id="rId21"/>
    <p:sldLayoutId id="2147485150" r:id="rId22"/>
    <p:sldLayoutId id="2147485151" r:id="rId23"/>
    <p:sldLayoutId id="2147485152" r:id="rId24"/>
    <p:sldLayoutId id="2147485153" r:id="rId25"/>
    <p:sldLayoutId id="2147485154" r:id="rId26"/>
    <p:sldLayoutId id="2147485155" r:id="rId27"/>
    <p:sldLayoutId id="2147485156" r:id="rId28"/>
    <p:sldLayoutId id="2147485157" r:id="rId29"/>
    <p:sldLayoutId id="2147485158" r:id="rId30"/>
    <p:sldLayoutId id="2147485159" r:id="rId31"/>
    <p:sldLayoutId id="2147485160" r:id="rId32"/>
    <p:sldLayoutId id="2147485161" r:id="rId33"/>
    <p:sldLayoutId id="2147485162" r:id="rId34"/>
    <p:sldLayoutId id="2147485163" r:id="rId35"/>
    <p:sldLayoutId id="2147485164" r:id="rId36"/>
    <p:sldLayoutId id="2147485165" r:id="rId37"/>
    <p:sldLayoutId id="2147485166" r:id="rId38"/>
    <p:sldLayoutId id="2147485167" r:id="rId39"/>
    <p:sldLayoutId id="2147485168" r:id="rId40"/>
    <p:sldLayoutId id="2147485169" r:id="rId41"/>
    <p:sldLayoutId id="2147485170" r:id="rId42"/>
    <p:sldLayoutId id="2147485171" r:id="rId43"/>
    <p:sldLayoutId id="2147485172" r:id="rId44"/>
    <p:sldLayoutId id="2147485173" r:id="rId45"/>
    <p:sldLayoutId id="2147485174" r:id="rId46"/>
    <p:sldLayoutId id="2147485175" r:id="rId47"/>
    <p:sldLayoutId id="2147485176" r:id="rId48"/>
    <p:sldLayoutId id="2147485177" r:id="rId49"/>
    <p:sldLayoutId id="2147485178" r:id="rId50"/>
    <p:sldLayoutId id="2147485179" r:id="rId51"/>
    <p:sldLayoutId id="2147485180" r:id="rId52"/>
    <p:sldLayoutId id="2147485181" r:id="rId53"/>
    <p:sldLayoutId id="2147485182" r:id="rId54"/>
    <p:sldLayoutId id="2147485183" r:id="rId55"/>
    <p:sldLayoutId id="2147485184" r:id="rId5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200" b="1" i="0" kern="1200" dirty="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253800" indent="-25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Courier New" panose="02070309020205020404" pitchFamily="49" charset="0"/>
        <a:buChar char="o"/>
        <a:defRPr sz="14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239">
          <p15:clr>
            <a:srgbClr val="F26B43"/>
          </p15:clr>
        </p15:guide>
        <p15:guide id="17" orient="horz" pos="454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0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B826B98-E55C-10CC-42C4-CBA9525AB943}"/>
              </a:ext>
            </a:extLst>
          </p:cNvPr>
          <p:cNvSpPr/>
          <p:nvPr/>
        </p:nvSpPr>
        <p:spPr>
          <a:xfrm>
            <a:off x="538139" y="6438901"/>
            <a:ext cx="71889" cy="152637"/>
          </a:xfrm>
          <a:custGeom>
            <a:avLst/>
            <a:gdLst>
              <a:gd name="connsiteX0" fmla="*/ 21002 w 71889"/>
              <a:gd name="connsiteY0" fmla="*/ 64625 h 152637"/>
              <a:gd name="connsiteX1" fmla="*/ 50863 w 71889"/>
              <a:gd name="connsiteY1" fmla="*/ 64625 h 152637"/>
              <a:gd name="connsiteX2" fmla="*/ 50863 w 71889"/>
              <a:gd name="connsiteY2" fmla="*/ 32907 h 152637"/>
              <a:gd name="connsiteX3" fmla="*/ 37600 w 71889"/>
              <a:gd name="connsiteY3" fmla="*/ 19644 h 152637"/>
              <a:gd name="connsiteX4" fmla="*/ 34290 w 71889"/>
              <a:gd name="connsiteY4" fmla="*/ 19644 h 152637"/>
              <a:gd name="connsiteX5" fmla="*/ 21002 w 71889"/>
              <a:gd name="connsiteY5" fmla="*/ 32907 h 152637"/>
              <a:gd name="connsiteX6" fmla="*/ 21002 w 71889"/>
              <a:gd name="connsiteY6" fmla="*/ 84842 h 152637"/>
              <a:gd name="connsiteX7" fmla="*/ 21002 w 71889"/>
              <a:gd name="connsiteY7" fmla="*/ 119727 h 152637"/>
              <a:gd name="connsiteX8" fmla="*/ 34290 w 71889"/>
              <a:gd name="connsiteY8" fmla="*/ 132991 h 152637"/>
              <a:gd name="connsiteX9" fmla="*/ 38147 w 71889"/>
              <a:gd name="connsiteY9" fmla="*/ 132991 h 152637"/>
              <a:gd name="connsiteX10" fmla="*/ 51435 w 71889"/>
              <a:gd name="connsiteY10" fmla="*/ 119727 h 152637"/>
              <a:gd name="connsiteX11" fmla="*/ 51435 w 71889"/>
              <a:gd name="connsiteY11" fmla="*/ 102582 h 152637"/>
              <a:gd name="connsiteX12" fmla="*/ 71889 w 71889"/>
              <a:gd name="connsiteY12" fmla="*/ 102582 h 152637"/>
              <a:gd name="connsiteX13" fmla="*/ 71889 w 71889"/>
              <a:gd name="connsiteY13" fmla="*/ 118894 h 152637"/>
              <a:gd name="connsiteX14" fmla="*/ 38147 w 71889"/>
              <a:gd name="connsiteY14" fmla="*/ 152636 h 152637"/>
              <a:gd name="connsiteX15" fmla="*/ 33718 w 71889"/>
              <a:gd name="connsiteY15" fmla="*/ 152636 h 152637"/>
              <a:gd name="connsiteX16" fmla="*/ 0 w 71889"/>
              <a:gd name="connsiteY16" fmla="*/ 121513 h 152637"/>
              <a:gd name="connsiteX17" fmla="*/ 0 w 71889"/>
              <a:gd name="connsiteY17" fmla="*/ 36360 h 152637"/>
              <a:gd name="connsiteX18" fmla="*/ 33718 w 71889"/>
              <a:gd name="connsiteY18" fmla="*/ -2 h 152637"/>
              <a:gd name="connsiteX19" fmla="*/ 38147 w 71889"/>
              <a:gd name="connsiteY19" fmla="*/ -2 h 152637"/>
              <a:gd name="connsiteX20" fmla="*/ 71889 w 71889"/>
              <a:gd name="connsiteY20" fmla="*/ 33741 h 152637"/>
              <a:gd name="connsiteX21" fmla="*/ 71889 w 71889"/>
              <a:gd name="connsiteY21" fmla="*/ 84842 h 152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1889" h="152637">
                <a:moveTo>
                  <a:pt x="21002" y="64625"/>
                </a:moveTo>
                <a:lnTo>
                  <a:pt x="50863" y="64625"/>
                </a:lnTo>
                <a:lnTo>
                  <a:pt x="50863" y="32907"/>
                </a:lnTo>
                <a:cubicBezTo>
                  <a:pt x="50863" y="24049"/>
                  <a:pt x="46458" y="19644"/>
                  <a:pt x="37600" y="19644"/>
                </a:cubicBezTo>
                <a:lnTo>
                  <a:pt x="34290" y="19644"/>
                </a:lnTo>
                <a:cubicBezTo>
                  <a:pt x="25431" y="19644"/>
                  <a:pt x="21002" y="24049"/>
                  <a:pt x="21002" y="32907"/>
                </a:cubicBezTo>
                <a:close/>
                <a:moveTo>
                  <a:pt x="21002" y="84842"/>
                </a:moveTo>
                <a:lnTo>
                  <a:pt x="21002" y="119727"/>
                </a:lnTo>
                <a:cubicBezTo>
                  <a:pt x="21002" y="128585"/>
                  <a:pt x="25431" y="132991"/>
                  <a:pt x="34290" y="132991"/>
                </a:cubicBezTo>
                <a:lnTo>
                  <a:pt x="38147" y="132991"/>
                </a:lnTo>
                <a:cubicBezTo>
                  <a:pt x="47005" y="132991"/>
                  <a:pt x="51435" y="128585"/>
                  <a:pt x="51435" y="119727"/>
                </a:cubicBezTo>
                <a:lnTo>
                  <a:pt x="51435" y="102582"/>
                </a:lnTo>
                <a:lnTo>
                  <a:pt x="71889" y="102582"/>
                </a:lnTo>
                <a:lnTo>
                  <a:pt x="71889" y="118894"/>
                </a:lnTo>
                <a:cubicBezTo>
                  <a:pt x="71889" y="141301"/>
                  <a:pt x="60555" y="152636"/>
                  <a:pt x="38147" y="152636"/>
                </a:cubicBezTo>
                <a:lnTo>
                  <a:pt x="33718" y="152636"/>
                </a:lnTo>
                <a:cubicBezTo>
                  <a:pt x="11335" y="152636"/>
                  <a:pt x="0" y="141301"/>
                  <a:pt x="0" y="121513"/>
                </a:cubicBezTo>
                <a:lnTo>
                  <a:pt x="0" y="36360"/>
                </a:lnTo>
                <a:cubicBezTo>
                  <a:pt x="0" y="11333"/>
                  <a:pt x="11335" y="-2"/>
                  <a:pt x="33718" y="-2"/>
                </a:cubicBezTo>
                <a:lnTo>
                  <a:pt x="38147" y="-2"/>
                </a:lnTo>
                <a:cubicBezTo>
                  <a:pt x="60555" y="-2"/>
                  <a:pt x="71889" y="11333"/>
                  <a:pt x="71889" y="33741"/>
                </a:cubicBezTo>
                <a:lnTo>
                  <a:pt x="71889" y="84842"/>
                </a:lnTo>
                <a:close/>
              </a:path>
            </a:pathLst>
          </a:custGeom>
          <a:solidFill>
            <a:srgbClr val="464648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70685B5-BAE4-EF9C-7DE6-0DF9389BC9DA}"/>
              </a:ext>
            </a:extLst>
          </p:cNvPr>
          <p:cNvSpPr/>
          <p:nvPr/>
        </p:nvSpPr>
        <p:spPr>
          <a:xfrm>
            <a:off x="623625" y="6438901"/>
            <a:ext cx="73603" cy="190022"/>
          </a:xfrm>
          <a:custGeom>
            <a:avLst/>
            <a:gdLst>
              <a:gd name="connsiteX0" fmla="*/ 21074 w 73603"/>
              <a:gd name="connsiteY0" fmla="*/ 124990 h 190022"/>
              <a:gd name="connsiteX1" fmla="*/ 40481 w 73603"/>
              <a:gd name="connsiteY1" fmla="*/ 132729 h 190022"/>
              <a:gd name="connsiteX2" fmla="*/ 52649 w 73603"/>
              <a:gd name="connsiteY2" fmla="*/ 120560 h 190022"/>
              <a:gd name="connsiteX3" fmla="*/ 52649 w 73603"/>
              <a:gd name="connsiteY3" fmla="*/ 32074 h 190022"/>
              <a:gd name="connsiteX4" fmla="*/ 40481 w 73603"/>
              <a:gd name="connsiteY4" fmla="*/ 19906 h 190022"/>
              <a:gd name="connsiteX5" fmla="*/ 21145 w 73603"/>
              <a:gd name="connsiteY5" fmla="*/ 27645 h 190022"/>
              <a:gd name="connsiteX6" fmla="*/ 0 w 73603"/>
              <a:gd name="connsiteY6" fmla="*/ 1665 h 190022"/>
              <a:gd name="connsiteX7" fmla="*/ 21026 w 73603"/>
              <a:gd name="connsiteY7" fmla="*/ 1665 h 190022"/>
              <a:gd name="connsiteX8" fmla="*/ 21026 w 73603"/>
              <a:gd name="connsiteY8" fmla="*/ 11333 h 190022"/>
              <a:gd name="connsiteX9" fmla="*/ 46791 w 73603"/>
              <a:gd name="connsiteY9" fmla="*/ -2 h 190022"/>
              <a:gd name="connsiteX10" fmla="*/ 73604 w 73603"/>
              <a:gd name="connsiteY10" fmla="*/ 29597 h 190022"/>
              <a:gd name="connsiteX11" fmla="*/ 73604 w 73603"/>
              <a:gd name="connsiteY11" fmla="*/ 123037 h 190022"/>
              <a:gd name="connsiteX12" fmla="*/ 46791 w 73603"/>
              <a:gd name="connsiteY12" fmla="*/ 152636 h 190022"/>
              <a:gd name="connsiteX13" fmla="*/ 21074 w 73603"/>
              <a:gd name="connsiteY13" fmla="*/ 141849 h 190022"/>
              <a:gd name="connsiteX14" fmla="*/ 21074 w 73603"/>
              <a:gd name="connsiteY14" fmla="*/ 190021 h 190022"/>
              <a:gd name="connsiteX15" fmla="*/ 0 w 73603"/>
              <a:gd name="connsiteY15" fmla="*/ 190021 h 190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3603" h="190022">
                <a:moveTo>
                  <a:pt x="21074" y="124990"/>
                </a:moveTo>
                <a:cubicBezTo>
                  <a:pt x="26388" y="129841"/>
                  <a:pt x="33287" y="132592"/>
                  <a:pt x="40481" y="132729"/>
                </a:cubicBezTo>
                <a:cubicBezTo>
                  <a:pt x="48220" y="132729"/>
                  <a:pt x="52649" y="129133"/>
                  <a:pt x="52649" y="120560"/>
                </a:cubicBezTo>
                <a:lnTo>
                  <a:pt x="52649" y="32074"/>
                </a:lnTo>
                <a:cubicBezTo>
                  <a:pt x="52649" y="23501"/>
                  <a:pt x="48220" y="19906"/>
                  <a:pt x="40481" y="19906"/>
                </a:cubicBezTo>
                <a:cubicBezTo>
                  <a:pt x="33311" y="20060"/>
                  <a:pt x="26441" y="22809"/>
                  <a:pt x="21145" y="27645"/>
                </a:cubicBezTo>
                <a:close/>
                <a:moveTo>
                  <a:pt x="0" y="1665"/>
                </a:moveTo>
                <a:lnTo>
                  <a:pt x="21026" y="1665"/>
                </a:lnTo>
                <a:lnTo>
                  <a:pt x="21026" y="11333"/>
                </a:lnTo>
                <a:cubicBezTo>
                  <a:pt x="27666" y="4138"/>
                  <a:pt x="37001" y="31"/>
                  <a:pt x="46791" y="-2"/>
                </a:cubicBezTo>
                <a:cubicBezTo>
                  <a:pt x="64746" y="-2"/>
                  <a:pt x="73604" y="11905"/>
                  <a:pt x="73604" y="29597"/>
                </a:cubicBezTo>
                <a:lnTo>
                  <a:pt x="73604" y="123037"/>
                </a:lnTo>
                <a:cubicBezTo>
                  <a:pt x="73604" y="140730"/>
                  <a:pt x="64746" y="152636"/>
                  <a:pt x="46791" y="152636"/>
                </a:cubicBezTo>
                <a:cubicBezTo>
                  <a:pt x="37118" y="152638"/>
                  <a:pt x="27851" y="148751"/>
                  <a:pt x="21074" y="141849"/>
                </a:cubicBezTo>
                <a:lnTo>
                  <a:pt x="21074" y="190021"/>
                </a:lnTo>
                <a:lnTo>
                  <a:pt x="0" y="190021"/>
                </a:lnTo>
                <a:close/>
              </a:path>
            </a:pathLst>
          </a:custGeom>
          <a:solidFill>
            <a:srgbClr val="464648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B5C7190-6D54-863A-4BA9-CA705D7A3C7C}"/>
              </a:ext>
            </a:extLst>
          </p:cNvPr>
          <p:cNvSpPr/>
          <p:nvPr/>
        </p:nvSpPr>
        <p:spPr>
          <a:xfrm>
            <a:off x="709802" y="6438901"/>
            <a:ext cx="71365" cy="152518"/>
          </a:xfrm>
          <a:custGeom>
            <a:avLst/>
            <a:gdLst>
              <a:gd name="connsiteX0" fmla="*/ 50434 w 71365"/>
              <a:gd name="connsiteY0" fmla="*/ 125799 h 152518"/>
              <a:gd name="connsiteX1" fmla="*/ 50434 w 71365"/>
              <a:gd name="connsiteY1" fmla="*/ 76555 h 152518"/>
              <a:gd name="connsiteX2" fmla="*/ 31385 w 71365"/>
              <a:gd name="connsiteY2" fmla="*/ 83699 h 152518"/>
              <a:gd name="connsiteX3" fmla="*/ 21145 w 71365"/>
              <a:gd name="connsiteY3" fmla="*/ 99177 h 152518"/>
              <a:gd name="connsiteX4" fmla="*/ 21145 w 71365"/>
              <a:gd name="connsiteY4" fmla="*/ 121846 h 152518"/>
              <a:gd name="connsiteX5" fmla="*/ 31385 w 71365"/>
              <a:gd name="connsiteY5" fmla="*/ 132633 h 152518"/>
              <a:gd name="connsiteX6" fmla="*/ 50434 w 71365"/>
              <a:gd name="connsiteY6" fmla="*/ 125704 h 152518"/>
              <a:gd name="connsiteX7" fmla="*/ 95 w 71365"/>
              <a:gd name="connsiteY7" fmla="*/ 98986 h 152518"/>
              <a:gd name="connsiteX8" fmla="*/ 22217 w 71365"/>
              <a:gd name="connsiteY8" fmla="*/ 67483 h 152518"/>
              <a:gd name="connsiteX9" fmla="*/ 50434 w 71365"/>
              <a:gd name="connsiteY9" fmla="*/ 57791 h 152518"/>
              <a:gd name="connsiteX10" fmla="*/ 50434 w 71365"/>
              <a:gd name="connsiteY10" fmla="*/ 32907 h 152518"/>
              <a:gd name="connsiteX11" fmla="*/ 37147 w 71365"/>
              <a:gd name="connsiteY11" fmla="*/ 19358 h 152518"/>
              <a:gd name="connsiteX12" fmla="*/ 33742 w 71365"/>
              <a:gd name="connsiteY12" fmla="*/ 19358 h 152518"/>
              <a:gd name="connsiteX13" fmla="*/ 20455 w 71365"/>
              <a:gd name="connsiteY13" fmla="*/ 32907 h 152518"/>
              <a:gd name="connsiteX14" fmla="*/ 20455 w 71365"/>
              <a:gd name="connsiteY14" fmla="*/ 54052 h 152518"/>
              <a:gd name="connsiteX15" fmla="*/ 0 w 71365"/>
              <a:gd name="connsiteY15" fmla="*/ 54052 h 152518"/>
              <a:gd name="connsiteX16" fmla="*/ 0 w 71365"/>
              <a:gd name="connsiteY16" fmla="*/ 33741 h 152518"/>
              <a:gd name="connsiteX17" fmla="*/ 33742 w 71365"/>
              <a:gd name="connsiteY17" fmla="*/ -2 h 152518"/>
              <a:gd name="connsiteX18" fmla="*/ 37647 w 71365"/>
              <a:gd name="connsiteY18" fmla="*/ -2 h 152518"/>
              <a:gd name="connsiteX19" fmla="*/ 71365 w 71365"/>
              <a:gd name="connsiteY19" fmla="*/ 33741 h 152518"/>
              <a:gd name="connsiteX20" fmla="*/ 71365 w 71365"/>
              <a:gd name="connsiteY20" fmla="*/ 150969 h 152518"/>
              <a:gd name="connsiteX21" fmla="*/ 50363 w 71365"/>
              <a:gd name="connsiteY21" fmla="*/ 150969 h 152518"/>
              <a:gd name="connsiteX22" fmla="*/ 50363 w 71365"/>
              <a:gd name="connsiteY22" fmla="*/ 141444 h 152518"/>
              <a:gd name="connsiteX23" fmla="*/ 24646 w 71365"/>
              <a:gd name="connsiteY23" fmla="*/ 152517 h 152518"/>
              <a:gd name="connsiteX24" fmla="*/ 24 w 71365"/>
              <a:gd name="connsiteY24" fmla="*/ 126323 h 152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1365" h="152518">
                <a:moveTo>
                  <a:pt x="50434" y="125799"/>
                </a:moveTo>
                <a:lnTo>
                  <a:pt x="50434" y="76555"/>
                </a:lnTo>
                <a:lnTo>
                  <a:pt x="31385" y="83699"/>
                </a:lnTo>
                <a:cubicBezTo>
                  <a:pt x="23622" y="86723"/>
                  <a:pt x="21145" y="90604"/>
                  <a:pt x="21145" y="99177"/>
                </a:cubicBezTo>
                <a:lnTo>
                  <a:pt x="21145" y="121846"/>
                </a:lnTo>
                <a:cubicBezTo>
                  <a:pt x="21145" y="128990"/>
                  <a:pt x="24741" y="132633"/>
                  <a:pt x="31385" y="132633"/>
                </a:cubicBezTo>
                <a:cubicBezTo>
                  <a:pt x="38028" y="132633"/>
                  <a:pt x="43529" y="130419"/>
                  <a:pt x="50434" y="125704"/>
                </a:cubicBezTo>
                <a:moveTo>
                  <a:pt x="95" y="98986"/>
                </a:moveTo>
                <a:cubicBezTo>
                  <a:pt x="95" y="80460"/>
                  <a:pt x="6191" y="73007"/>
                  <a:pt x="22217" y="67483"/>
                </a:cubicBezTo>
                <a:lnTo>
                  <a:pt x="50434" y="57791"/>
                </a:lnTo>
                <a:lnTo>
                  <a:pt x="50434" y="32907"/>
                </a:lnTo>
                <a:cubicBezTo>
                  <a:pt x="50434" y="24073"/>
                  <a:pt x="46005" y="19358"/>
                  <a:pt x="37147" y="19358"/>
                </a:cubicBezTo>
                <a:lnTo>
                  <a:pt x="33742" y="19358"/>
                </a:lnTo>
                <a:cubicBezTo>
                  <a:pt x="24884" y="19358"/>
                  <a:pt x="20455" y="24120"/>
                  <a:pt x="20455" y="32907"/>
                </a:cubicBezTo>
                <a:lnTo>
                  <a:pt x="20455" y="54052"/>
                </a:lnTo>
                <a:lnTo>
                  <a:pt x="0" y="54052"/>
                </a:lnTo>
                <a:lnTo>
                  <a:pt x="0" y="33741"/>
                </a:lnTo>
                <a:cubicBezTo>
                  <a:pt x="0" y="11333"/>
                  <a:pt x="11335" y="-2"/>
                  <a:pt x="33742" y="-2"/>
                </a:cubicBezTo>
                <a:lnTo>
                  <a:pt x="37647" y="-2"/>
                </a:lnTo>
                <a:cubicBezTo>
                  <a:pt x="60031" y="-2"/>
                  <a:pt x="71365" y="11333"/>
                  <a:pt x="71365" y="33741"/>
                </a:cubicBezTo>
                <a:lnTo>
                  <a:pt x="71365" y="150969"/>
                </a:lnTo>
                <a:lnTo>
                  <a:pt x="50363" y="150969"/>
                </a:lnTo>
                <a:lnTo>
                  <a:pt x="50363" y="141444"/>
                </a:lnTo>
                <a:cubicBezTo>
                  <a:pt x="43672" y="148507"/>
                  <a:pt x="34373" y="152510"/>
                  <a:pt x="24646" y="152517"/>
                </a:cubicBezTo>
                <a:cubicBezTo>
                  <a:pt x="7787" y="152517"/>
                  <a:pt x="24" y="142825"/>
                  <a:pt x="24" y="126323"/>
                </a:cubicBezTo>
                <a:close/>
              </a:path>
            </a:pathLst>
          </a:custGeom>
          <a:solidFill>
            <a:srgbClr val="464648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57601880-1457-FDF8-4F5B-4C7763A3DCFB}"/>
              </a:ext>
            </a:extLst>
          </p:cNvPr>
          <p:cNvSpPr/>
          <p:nvPr/>
        </p:nvSpPr>
        <p:spPr>
          <a:xfrm>
            <a:off x="794907" y="6438901"/>
            <a:ext cx="121752" cy="150970"/>
          </a:xfrm>
          <a:custGeom>
            <a:avLst/>
            <a:gdLst>
              <a:gd name="connsiteX0" fmla="*/ 71318 w 121752"/>
              <a:gd name="connsiteY0" fmla="*/ 150969 h 150970"/>
              <a:gd name="connsiteX1" fmla="*/ 50315 w 121752"/>
              <a:gd name="connsiteY1" fmla="*/ 150969 h 150970"/>
              <a:gd name="connsiteX2" fmla="*/ 50315 w 121752"/>
              <a:gd name="connsiteY2" fmla="*/ 30693 h 150970"/>
              <a:gd name="connsiteX3" fmla="*/ 40362 w 121752"/>
              <a:gd name="connsiteY3" fmla="*/ 19906 h 150970"/>
              <a:gd name="connsiteX4" fmla="*/ 21002 w 121752"/>
              <a:gd name="connsiteY4" fmla="*/ 27383 h 150970"/>
              <a:gd name="connsiteX5" fmla="*/ 21002 w 121752"/>
              <a:gd name="connsiteY5" fmla="*/ 150969 h 150970"/>
              <a:gd name="connsiteX6" fmla="*/ 0 w 121752"/>
              <a:gd name="connsiteY6" fmla="*/ 150969 h 150970"/>
              <a:gd name="connsiteX7" fmla="*/ 0 w 121752"/>
              <a:gd name="connsiteY7" fmla="*/ 1665 h 150970"/>
              <a:gd name="connsiteX8" fmla="*/ 21002 w 121752"/>
              <a:gd name="connsiteY8" fmla="*/ 1665 h 150970"/>
              <a:gd name="connsiteX9" fmla="*/ 21002 w 121752"/>
              <a:gd name="connsiteY9" fmla="*/ 11333 h 150970"/>
              <a:gd name="connsiteX10" fmla="*/ 46720 w 121752"/>
              <a:gd name="connsiteY10" fmla="*/ -2 h 150970"/>
              <a:gd name="connsiteX11" fmla="*/ 68556 w 121752"/>
              <a:gd name="connsiteY11" fmla="*/ 12167 h 150970"/>
              <a:gd name="connsiteX12" fmla="*/ 97130 w 121752"/>
              <a:gd name="connsiteY12" fmla="*/ -2 h 150970"/>
              <a:gd name="connsiteX13" fmla="*/ 121752 w 121752"/>
              <a:gd name="connsiteY13" fmla="*/ 26192 h 150970"/>
              <a:gd name="connsiteX14" fmla="*/ 121752 w 121752"/>
              <a:gd name="connsiteY14" fmla="*/ 150969 h 150970"/>
              <a:gd name="connsiteX15" fmla="*/ 100726 w 121752"/>
              <a:gd name="connsiteY15" fmla="*/ 150969 h 150970"/>
              <a:gd name="connsiteX16" fmla="*/ 100726 w 121752"/>
              <a:gd name="connsiteY16" fmla="*/ 30693 h 150970"/>
              <a:gd name="connsiteX17" fmla="*/ 90773 w 121752"/>
              <a:gd name="connsiteY17" fmla="*/ 19906 h 150970"/>
              <a:gd name="connsiteX18" fmla="*/ 71413 w 121752"/>
              <a:gd name="connsiteY18" fmla="*/ 27383 h 15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752" h="150970">
                <a:moveTo>
                  <a:pt x="71318" y="150969"/>
                </a:moveTo>
                <a:lnTo>
                  <a:pt x="50315" y="150969"/>
                </a:lnTo>
                <a:lnTo>
                  <a:pt x="50315" y="30693"/>
                </a:lnTo>
                <a:cubicBezTo>
                  <a:pt x="50315" y="23239"/>
                  <a:pt x="46720" y="19906"/>
                  <a:pt x="40362" y="19906"/>
                </a:cubicBezTo>
                <a:cubicBezTo>
                  <a:pt x="34552" y="19906"/>
                  <a:pt x="28456" y="22120"/>
                  <a:pt x="21002" y="27383"/>
                </a:cubicBezTo>
                <a:lnTo>
                  <a:pt x="21002" y="150969"/>
                </a:lnTo>
                <a:lnTo>
                  <a:pt x="0" y="150969"/>
                </a:lnTo>
                <a:lnTo>
                  <a:pt x="0" y="1665"/>
                </a:lnTo>
                <a:lnTo>
                  <a:pt x="21002" y="1665"/>
                </a:lnTo>
                <a:lnTo>
                  <a:pt x="21002" y="11333"/>
                </a:lnTo>
                <a:cubicBezTo>
                  <a:pt x="27098" y="5523"/>
                  <a:pt x="35099" y="-2"/>
                  <a:pt x="46720" y="-2"/>
                </a:cubicBezTo>
                <a:cubicBezTo>
                  <a:pt x="57507" y="-2"/>
                  <a:pt x="64698" y="4428"/>
                  <a:pt x="68556" y="12167"/>
                </a:cubicBezTo>
                <a:cubicBezTo>
                  <a:pt x="76033" y="5809"/>
                  <a:pt x="84867" y="-2"/>
                  <a:pt x="97130" y="-2"/>
                </a:cubicBezTo>
                <a:cubicBezTo>
                  <a:pt x="113442" y="-2"/>
                  <a:pt x="121752" y="9952"/>
                  <a:pt x="121752" y="26192"/>
                </a:cubicBezTo>
                <a:lnTo>
                  <a:pt x="121752" y="150969"/>
                </a:lnTo>
                <a:lnTo>
                  <a:pt x="100726" y="150969"/>
                </a:lnTo>
                <a:lnTo>
                  <a:pt x="100726" y="30693"/>
                </a:lnTo>
                <a:cubicBezTo>
                  <a:pt x="100726" y="23239"/>
                  <a:pt x="97130" y="19906"/>
                  <a:pt x="90773" y="19906"/>
                </a:cubicBezTo>
                <a:cubicBezTo>
                  <a:pt x="84962" y="19906"/>
                  <a:pt x="78866" y="22120"/>
                  <a:pt x="71413" y="27383"/>
                </a:cubicBezTo>
                <a:close/>
              </a:path>
            </a:pathLst>
          </a:custGeom>
          <a:solidFill>
            <a:srgbClr val="464648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17EF32E-CAEC-B6C9-BC3E-1D531DA3FC5D}"/>
              </a:ext>
            </a:extLst>
          </p:cNvPr>
          <p:cNvSpPr/>
          <p:nvPr/>
        </p:nvSpPr>
        <p:spPr>
          <a:xfrm>
            <a:off x="457201" y="6454379"/>
            <a:ext cx="53982" cy="122300"/>
          </a:xfrm>
          <a:custGeom>
            <a:avLst/>
            <a:gdLst>
              <a:gd name="connsiteX0" fmla="*/ 53983 w 53982"/>
              <a:gd name="connsiteY0" fmla="*/ 0 h 122300"/>
              <a:gd name="connsiteX1" fmla="*/ 53983 w 53982"/>
              <a:gd name="connsiteY1" fmla="*/ 27456 h 122300"/>
              <a:gd name="connsiteX2" fmla="*/ 18621 w 53982"/>
              <a:gd name="connsiteY2" fmla="*/ 61150 h 122300"/>
              <a:gd name="connsiteX3" fmla="*/ 53983 w 53982"/>
              <a:gd name="connsiteY3" fmla="*/ 94249 h 122300"/>
              <a:gd name="connsiteX4" fmla="*/ 53983 w 53982"/>
              <a:gd name="connsiteY4" fmla="*/ 122300 h 122300"/>
              <a:gd name="connsiteX5" fmla="*/ 0 w 53982"/>
              <a:gd name="connsiteY5" fmla="*/ 71556 h 122300"/>
              <a:gd name="connsiteX6" fmla="*/ 0 w 53982"/>
              <a:gd name="connsiteY6" fmla="*/ 51339 h 122300"/>
              <a:gd name="connsiteX7" fmla="*/ 53983 w 53982"/>
              <a:gd name="connsiteY7" fmla="*/ 0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0"/>
                </a:moveTo>
                <a:lnTo>
                  <a:pt x="53983" y="27456"/>
                </a:lnTo>
                <a:lnTo>
                  <a:pt x="18621" y="61150"/>
                </a:lnTo>
                <a:lnTo>
                  <a:pt x="53983" y="94249"/>
                </a:lnTo>
                <a:lnTo>
                  <a:pt x="53983" y="122300"/>
                </a:lnTo>
                <a:lnTo>
                  <a:pt x="0" y="71556"/>
                </a:lnTo>
                <a:lnTo>
                  <a:pt x="0" y="51339"/>
                </a:lnTo>
                <a:lnTo>
                  <a:pt x="53983" y="0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154205DB-76C6-0834-64CA-00FDEA0DBF88}"/>
              </a:ext>
            </a:extLst>
          </p:cNvPr>
          <p:cNvSpPr/>
          <p:nvPr/>
        </p:nvSpPr>
        <p:spPr>
          <a:xfrm>
            <a:off x="943210" y="6454379"/>
            <a:ext cx="53982" cy="122300"/>
          </a:xfrm>
          <a:custGeom>
            <a:avLst/>
            <a:gdLst>
              <a:gd name="connsiteX0" fmla="*/ 53983 w 53982"/>
              <a:gd name="connsiteY0" fmla="*/ 51339 h 122300"/>
              <a:gd name="connsiteX1" fmla="*/ 53983 w 53982"/>
              <a:gd name="connsiteY1" fmla="*/ 71556 h 122300"/>
              <a:gd name="connsiteX2" fmla="*/ 0 w 53982"/>
              <a:gd name="connsiteY2" fmla="*/ 122300 h 122300"/>
              <a:gd name="connsiteX3" fmla="*/ 0 w 53982"/>
              <a:gd name="connsiteY3" fmla="*/ 94249 h 122300"/>
              <a:gd name="connsiteX4" fmla="*/ 35361 w 53982"/>
              <a:gd name="connsiteY4" fmla="*/ 61150 h 122300"/>
              <a:gd name="connsiteX5" fmla="*/ 0 w 53982"/>
              <a:gd name="connsiteY5" fmla="*/ 27456 h 122300"/>
              <a:gd name="connsiteX6" fmla="*/ 0 w 53982"/>
              <a:gd name="connsiteY6" fmla="*/ 0 h 122300"/>
              <a:gd name="connsiteX7" fmla="*/ 53983 w 53982"/>
              <a:gd name="connsiteY7" fmla="*/ 51339 h 1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82" h="122300">
                <a:moveTo>
                  <a:pt x="53983" y="51339"/>
                </a:moveTo>
                <a:lnTo>
                  <a:pt x="53983" y="71556"/>
                </a:lnTo>
                <a:lnTo>
                  <a:pt x="0" y="122300"/>
                </a:lnTo>
                <a:lnTo>
                  <a:pt x="0" y="94249"/>
                </a:lnTo>
                <a:lnTo>
                  <a:pt x="35361" y="61150"/>
                </a:lnTo>
                <a:lnTo>
                  <a:pt x="0" y="27456"/>
                </a:lnTo>
                <a:lnTo>
                  <a:pt x="0" y="0"/>
                </a:lnTo>
                <a:lnTo>
                  <a:pt x="53983" y="51339"/>
                </a:lnTo>
                <a:close/>
              </a:path>
            </a:pathLst>
          </a:custGeom>
          <a:solidFill>
            <a:schemeClr val="accent6"/>
          </a:solidFill>
          <a:ln w="2350" cap="flat">
            <a:noFill/>
            <a:prstDash val="solid"/>
            <a:miter/>
          </a:ln>
        </p:spPr>
        <p:txBody>
          <a:bodyPr rtlCol="0" anchor="ctr"/>
          <a:lstStyle/>
          <a:p>
            <a:endParaRPr lang="en-AM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505" y="1181101"/>
            <a:ext cx="11274551" cy="4991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505872" y="641675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070183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90" r:id="rId4"/>
    <p:sldLayoutId id="2147485191" r:id="rId5"/>
    <p:sldLayoutId id="2147485192" r:id="rId6"/>
    <p:sldLayoutId id="2147485193" r:id="rId7"/>
    <p:sldLayoutId id="2147485194" r:id="rId8"/>
    <p:sldLayoutId id="2147485195" r:id="rId9"/>
    <p:sldLayoutId id="2147485196" r:id="rId10"/>
    <p:sldLayoutId id="2147485197" r:id="rId11"/>
    <p:sldLayoutId id="2147485198" r:id="rId12"/>
    <p:sldLayoutId id="2147485199" r:id="rId13"/>
    <p:sldLayoutId id="2147485200" r:id="rId14"/>
    <p:sldLayoutId id="2147485201" r:id="rId15"/>
    <p:sldLayoutId id="2147485202" r:id="rId16"/>
    <p:sldLayoutId id="2147485203" r:id="rId17"/>
    <p:sldLayoutId id="2147485204" r:id="rId18"/>
    <p:sldLayoutId id="2147485205" r:id="rId19"/>
    <p:sldLayoutId id="2147485206" r:id="rId20"/>
    <p:sldLayoutId id="2147485207" r:id="rId21"/>
    <p:sldLayoutId id="2147485208" r:id="rId22"/>
    <p:sldLayoutId id="2147485209" r:id="rId23"/>
    <p:sldLayoutId id="2147485210" r:id="rId24"/>
    <p:sldLayoutId id="2147485211" r:id="rId25"/>
    <p:sldLayoutId id="2147485212" r:id="rId26"/>
    <p:sldLayoutId id="2147485213" r:id="rId27"/>
    <p:sldLayoutId id="2147485214" r:id="rId28"/>
    <p:sldLayoutId id="2147485215" r:id="rId29"/>
    <p:sldLayoutId id="2147485217" r:id="rId30"/>
    <p:sldLayoutId id="2147485218" r:id="rId31"/>
    <p:sldLayoutId id="2147485219" r:id="rId32"/>
    <p:sldLayoutId id="2147485220" r:id="rId33"/>
    <p:sldLayoutId id="2147485221" r:id="rId34"/>
    <p:sldLayoutId id="2147485222" r:id="rId35"/>
    <p:sldLayoutId id="2147485223" r:id="rId36"/>
    <p:sldLayoutId id="2147485224" r:id="rId37"/>
    <p:sldLayoutId id="2147485225" r:id="rId38"/>
    <p:sldLayoutId id="2147485226" r:id="rId39"/>
    <p:sldLayoutId id="2147485227" r:id="rId40"/>
    <p:sldLayoutId id="2147485228" r:id="rId41"/>
    <p:sldLayoutId id="2147485229" r:id="rId42"/>
    <p:sldLayoutId id="2147485230" r:id="rId43"/>
    <p:sldLayoutId id="2147485231" r:id="rId44"/>
    <p:sldLayoutId id="2147485232" r:id="rId45"/>
    <p:sldLayoutId id="2147485233" r:id="rId46"/>
    <p:sldLayoutId id="2147485234" r:id="rId47"/>
    <p:sldLayoutId id="2147485235" r:id="rId48"/>
    <p:sldLayoutId id="2147485236" r:id="rId49"/>
    <p:sldLayoutId id="2147485237" r:id="rId50"/>
    <p:sldLayoutId id="2147485238" r:id="rId51"/>
    <p:sldLayoutId id="2147485240" r:id="rId52"/>
    <p:sldLayoutId id="2147485241" r:id="rId53"/>
    <p:sldLayoutId id="2147485242" r:id="rId54"/>
    <p:sldLayoutId id="2147485243" r:id="rId55"/>
    <p:sldLayoutId id="2147485244" r:id="rId56"/>
    <p:sldLayoutId id="2147485245" r:id="rId57"/>
    <p:sldLayoutId id="2147485246" r:id="rId58"/>
    <p:sldLayoutId id="2147485247" r:id="rId5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16" orient="horz" pos="144">
          <p15:clr>
            <a:srgbClr val="F26B43"/>
          </p15:clr>
        </p15:guide>
        <p15:guide id="17" orient="horz" pos="312">
          <p15:clr>
            <a:srgbClr val="F26B43"/>
          </p15:clr>
        </p15:guide>
        <p15:guide id="19" orient="horz" pos="576">
          <p15:clr>
            <a:srgbClr val="F26B43"/>
          </p15:clr>
        </p15:guide>
        <p15:guide id="20" orient="horz" pos="744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7" orient="horz" pos="4320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0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28">
          <p15:clr>
            <a:srgbClr val="F26B43"/>
          </p15:clr>
        </p15:guide>
        <p15:guide id="77" pos="498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96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G"/><Relationship Id="rId3" Type="http://schemas.openxmlformats.org/officeDocument/2006/relationships/image" Target="../media/image74.PNG"/><Relationship Id="rId7" Type="http://schemas.openxmlformats.org/officeDocument/2006/relationships/image" Target="../media/image78.jpg"/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7.jpg"/><Relationship Id="rId5" Type="http://schemas.openxmlformats.org/officeDocument/2006/relationships/image" Target="../media/image76.jpg"/><Relationship Id="rId4" Type="http://schemas.openxmlformats.org/officeDocument/2006/relationships/image" Target="../media/image75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8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F528C86-CFCD-FCF9-D7E3-BA79DB859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Placeholder 8" descr="Illuminated technology network on a dark background">
            <a:extLst>
              <a:ext uri="{FF2B5EF4-FFF2-40B4-BE49-F238E27FC236}">
                <a16:creationId xmlns:a16="http://schemas.microsoft.com/office/drawing/2014/main" id="{DB237C35-057E-56F6-6524-DE5C1C3DAD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DD7F4FC5-BF0D-0111-B4EE-BF3480489896}"/>
              </a:ext>
            </a:extLst>
          </p:cNvPr>
          <p:cNvSpPr txBox="1">
            <a:spLocks/>
          </p:cNvSpPr>
          <p:nvPr/>
        </p:nvSpPr>
        <p:spPr>
          <a:xfrm>
            <a:off x="6584199" y="2767281"/>
            <a:ext cx="3901595" cy="1323439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i="0" kern="1200" spc="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Engineering the futu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2E2C5A-BEE2-2017-3DBB-CDDEC19BFF63}"/>
              </a:ext>
            </a:extLst>
          </p:cNvPr>
          <p:cNvCxnSpPr>
            <a:cxnSpLocks/>
          </p:cNvCxnSpPr>
          <p:nvPr/>
        </p:nvCxnSpPr>
        <p:spPr>
          <a:xfrm>
            <a:off x="6096000" y="2554942"/>
            <a:ext cx="0" cy="1748117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D86C43C8-1295-39A7-D9E1-D09C58C544E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6371" y="2771233"/>
            <a:ext cx="3578258" cy="131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7451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83EE59-5071-7FC4-8A49-A8B73323A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2C5386-DD85-CF4E-3199-6EFA47E8D9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Why it is here? Main similarities between servic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CD5CCC-2C75-37B8-28D8-593A76877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Event Grid IoT Hub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DD8ACA-212E-AFE0-0BEC-6B2F130BFF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P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9E3984-8978-1E2B-69A4-C75B707565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988939"/>
            <a:ext cx="11562809" cy="268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17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DC76E5-D0A4-9CDD-A110-C831D980AA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BC9974-089F-44BE-4E45-6B559296BA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O</a:t>
            </a:r>
            <a:r>
              <a:rPr lang="en-PL" dirty="0"/>
              <a:t>k – this is why! Main differences between servic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490DCD-B04A-9869-E6D1-311BB033A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Event Grid IoT Hub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3EB064-88F9-EB2D-1DA8-3E098020C1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P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05BF38-BA6B-1FD5-FFFC-3C285A91F4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01758"/>
            <a:ext cx="11163402" cy="406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4056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175C4-DA24-9E09-4C26-5CAEBD7812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FBB84F-DEF4-26A3-42EB-835DB9BB50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</a:t>
            </a:r>
            <a:r>
              <a:rPr lang="en-PL" dirty="0"/>
              <a:t>n cloud you need to keep your hands dirty, even for you sanity only </a:t>
            </a:r>
            <a:r>
              <a:rPr lang="en-PL" dirty="0">
                <a:sym typeface="Wingdings" pitchFamily="2" charset="2"/>
              </a:rPr>
              <a:t></a:t>
            </a:r>
            <a:endParaRPr lang="en-P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6F3252-07CE-F9A4-4D25-B061F9433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Live dem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1BAB83-6F0D-7915-581C-67D118FE06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401349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21B63-2F51-2DA1-D811-6BB9A733D6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6F0355-314F-23D4-91BB-54024C52AD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PL" dirty="0"/>
              <a:t>Let’s do some roast!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CD92D4-DEE2-FF34-837B-3EBDB5337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Q&amp;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91A614-A7B5-4D11-983F-6A01A4028F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8606908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F528C86-CFCD-FCF9-D7E3-BA79DB859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Placeholder 8" descr="Illuminated technology network on a dark background">
            <a:extLst>
              <a:ext uri="{FF2B5EF4-FFF2-40B4-BE49-F238E27FC236}">
                <a16:creationId xmlns:a16="http://schemas.microsoft.com/office/drawing/2014/main" id="{DB237C35-057E-56F6-6524-DE5C1C3DAD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DD7F4FC5-BF0D-0111-B4EE-BF3480489896}"/>
              </a:ext>
            </a:extLst>
          </p:cNvPr>
          <p:cNvSpPr txBox="1">
            <a:spLocks/>
          </p:cNvSpPr>
          <p:nvPr/>
        </p:nvSpPr>
        <p:spPr>
          <a:xfrm>
            <a:off x="6584199" y="2767281"/>
            <a:ext cx="3901595" cy="1323439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i="0" kern="1200" spc="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Engineering the futu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2E2C5A-BEE2-2017-3DBB-CDDEC19BFF63}"/>
              </a:ext>
            </a:extLst>
          </p:cNvPr>
          <p:cNvCxnSpPr>
            <a:cxnSpLocks/>
          </p:cNvCxnSpPr>
          <p:nvPr/>
        </p:nvCxnSpPr>
        <p:spPr>
          <a:xfrm>
            <a:off x="6096000" y="2554942"/>
            <a:ext cx="0" cy="1748117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D86C43C8-1295-39A7-D9E1-D09C58C544E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6371" y="2771233"/>
            <a:ext cx="3578258" cy="131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9960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97C963-C45E-8DC3-066A-7BB2835441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/>
              <a:t>For more information, contact</a:t>
            </a:r>
          </a:p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E818F59-47CE-7E82-AC3D-602B35866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!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2505B30-B1BD-AADD-6A86-CD44B39C8180}"/>
              </a:ext>
            </a:extLst>
          </p:cNvPr>
          <p:cNvSpPr txBox="1">
            <a:spLocks/>
          </p:cNvSpPr>
          <p:nvPr/>
        </p:nvSpPr>
        <p:spPr>
          <a:xfrm>
            <a:off x="6008594" y="2487970"/>
            <a:ext cx="3827462" cy="2894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800" b="1" i="0" kern="1200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bg1"/>
                </a:solidFill>
                <a:latin typeface="Calibri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1200" b="0" i="0" kern="1200" dirty="0">
                <a:solidFill>
                  <a:schemeClr val="bg1"/>
                </a:solidFill>
                <a:latin typeface="Calibri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i="0" kern="12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i="0" kern="12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>
                <a:solidFill>
                  <a:schemeClr val="accent5"/>
                </a:solidFill>
              </a:rPr>
              <a:t>Pawel Fiderek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F6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94BC688-17EB-F039-0192-2214C1DF808B}"/>
              </a:ext>
            </a:extLst>
          </p:cNvPr>
          <p:cNvSpPr txBox="1">
            <a:spLocks/>
          </p:cNvSpPr>
          <p:nvPr/>
        </p:nvSpPr>
        <p:spPr>
          <a:xfrm>
            <a:off x="6008594" y="2873285"/>
            <a:ext cx="3827462" cy="2251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>
                <a:solidFill>
                  <a:schemeClr val="accent2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bg1"/>
                </a:solidFill>
                <a:latin typeface="Calibri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1200" b="0" i="0" kern="1200" dirty="0">
                <a:solidFill>
                  <a:schemeClr val="bg1"/>
                </a:solidFill>
                <a:latin typeface="Calibri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i="0" kern="12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i="0" kern="12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5"/>
                </a:solidFill>
              </a:rPr>
              <a:t>Director, Cloud CTO Poland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A6ECFC6-4647-88B2-304C-9E7B30BF5F65}"/>
              </a:ext>
            </a:extLst>
          </p:cNvPr>
          <p:cNvSpPr txBox="1">
            <a:spLocks/>
          </p:cNvSpPr>
          <p:nvPr/>
        </p:nvSpPr>
        <p:spPr>
          <a:xfrm>
            <a:off x="6008594" y="3180778"/>
            <a:ext cx="3827462" cy="2251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>
                <a:solidFill>
                  <a:schemeClr val="bg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bg1"/>
                </a:solidFill>
                <a:latin typeface="Calibri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1200" b="0" i="0" kern="1200" dirty="0">
                <a:solidFill>
                  <a:schemeClr val="bg1"/>
                </a:solidFill>
                <a:latin typeface="Calibri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i="0" kern="12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b="0" i="0" kern="12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Pawel_Fiderek@epam.com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463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7FF691-9E6E-CCA7-2412-C62672DD47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Event Grid MQTT broker is now GA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D880A-5A46-7824-44AB-BFC2029968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L" dirty="0"/>
              <a:t>February 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1F147C-D48D-B382-AA53-D4710BFC09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EPAM Proprietary &amp; Confidential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4D3404-DE42-EB0F-C655-A2057F7235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074" y="1653938"/>
            <a:ext cx="8060366" cy="2111091"/>
          </a:xfrm>
        </p:spPr>
        <p:txBody>
          <a:bodyPr/>
          <a:lstStyle/>
          <a:p>
            <a:r>
              <a:rPr lang="en-PL" dirty="0"/>
              <a:t>Latest change in Azure IoT portfolio</a:t>
            </a:r>
          </a:p>
        </p:txBody>
      </p:sp>
    </p:spTree>
    <p:extLst>
      <p:ext uri="{BB962C8B-B14F-4D97-AF65-F5344CB8AC3E}">
        <p14:creationId xmlns:p14="http://schemas.microsoft.com/office/powerpoint/2010/main" val="2933432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993AD-1599-E5F7-89DF-194B8BCCF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6D940-79B2-6264-CCAB-5D2E5C1AB1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2006CE-5BC5-5868-F5B4-17557922F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P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1AEF74-3070-7A4B-C7C7-8D972B9EBB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L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B1A409-290B-E12C-189B-288E8954F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PL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41AC6B-60BF-F345-D33C-AD4158B4FC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PL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BEC86D5-C76A-C8D8-2B90-D80B8173A4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PL" dirty="0"/>
              <a:t>About the auto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050D295-2051-69A6-3A00-5D170C2F3F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PL" dirty="0"/>
              <a:t>Event grid introduc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C25BA0-910D-030B-CE3D-CD98EB0409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PL" dirty="0"/>
              <a:t>Event Grid MQTT vs IoT Hub MQT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767AA63-95F5-C7F5-7092-2814108175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PL" dirty="0"/>
              <a:t>Live Dem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8824B5A-BBF4-F0BB-5CB5-21AC214E11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PL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402930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 build="p"/>
      <p:bldP spid="6" grpId="0" build="p"/>
      <p:bldP spid="7" grpId="0" build="p"/>
      <p:bldP spid="9" grpId="0" build="p"/>
      <p:bldP spid="10" grpId="0" build="p"/>
      <p:bldP spid="11" grpId="0" build="p"/>
      <p:bldP spid="12" grpId="0" build="p"/>
      <p:bldP spid="1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16721B-0C7C-01D4-6065-9429B608D0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2C82C2-B9C6-FFE0-5881-F2EC1AE746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PL" dirty="0"/>
              <a:t>Few totally not important things…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E4CDDE-8E54-F8C0-17EC-40CE276D7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About the 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4AAB41-DB5A-E1D9-4AFA-15FD0B5949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702037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E3996-560C-077B-C5B7-A0977F0BAD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E6F87A-75B0-173B-9459-EFDC88D84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Cloud CTO Polan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1FF6B1-CD10-8118-9632-FC35CB49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Pawel Fidere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E8B670-F409-3473-7E4D-00D3C0C67E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PL"/>
          </a:p>
        </p:txBody>
      </p:sp>
      <p:pic>
        <p:nvPicPr>
          <p:cNvPr id="10" name="Picture 9" descr="A person standing in front of a computer&#10;&#10;Description automatically generated">
            <a:extLst>
              <a:ext uri="{FF2B5EF4-FFF2-40B4-BE49-F238E27FC236}">
                <a16:creationId xmlns:a16="http://schemas.microsoft.com/office/drawing/2014/main" id="{DD9EB8EE-5BE2-1490-E078-D95D6BCCB2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414715" y="1030311"/>
            <a:ext cx="4280090" cy="3210068"/>
          </a:xfrm>
          <a:prstGeom prst="rect">
            <a:avLst/>
          </a:prstGeom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C047F94E-9B56-4251-A086-E822A0AB1D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377" y="5014876"/>
            <a:ext cx="3689798" cy="1706664"/>
          </a:xfrm>
          <a:prstGeom prst="rect">
            <a:avLst/>
          </a:prstGeom>
        </p:spPr>
      </p:pic>
      <p:pic>
        <p:nvPicPr>
          <p:cNvPr id="16" name="Picture 15" descr="A person and person posing for a picture&#10;&#10;Description automatically generated">
            <a:extLst>
              <a:ext uri="{FF2B5EF4-FFF2-40B4-BE49-F238E27FC236}">
                <a16:creationId xmlns:a16="http://schemas.microsoft.com/office/drawing/2014/main" id="{91381F5F-FC7A-A5A3-E903-70088715F4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560" y="1588361"/>
            <a:ext cx="2841440" cy="2131080"/>
          </a:xfrm>
          <a:prstGeom prst="rect">
            <a:avLst/>
          </a:prstGeom>
        </p:spPr>
      </p:pic>
      <p:pic>
        <p:nvPicPr>
          <p:cNvPr id="18" name="Picture 17" descr="A person and person posing for a picture&#10;&#10;Description automatically generated">
            <a:extLst>
              <a:ext uri="{FF2B5EF4-FFF2-40B4-BE49-F238E27FC236}">
                <a16:creationId xmlns:a16="http://schemas.microsoft.com/office/drawing/2014/main" id="{E63ACE71-5E8F-449F-F180-17BC6B5216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834393" y="522513"/>
            <a:ext cx="2293257" cy="1719943"/>
          </a:xfrm>
          <a:prstGeom prst="rect">
            <a:avLst/>
          </a:prstGeom>
        </p:spPr>
      </p:pic>
      <p:pic>
        <p:nvPicPr>
          <p:cNvPr id="20" name="Picture 19" descr="A person in a hat and mouse ears on a merry go round&#10;&#10;Description automatically generated">
            <a:extLst>
              <a:ext uri="{FF2B5EF4-FFF2-40B4-BE49-F238E27FC236}">
                <a16:creationId xmlns:a16="http://schemas.microsoft.com/office/drawing/2014/main" id="{069FE5E7-5A97-793C-5E35-C64B2765FE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96001" y="4108930"/>
            <a:ext cx="2700227" cy="2025170"/>
          </a:xfrm>
          <a:prstGeom prst="rect">
            <a:avLst/>
          </a:prstGeom>
        </p:spPr>
      </p:pic>
      <p:pic>
        <p:nvPicPr>
          <p:cNvPr id="22" name="Picture 21" descr="A person standing in an elevator&#10;&#10;Description automatically generated">
            <a:extLst>
              <a:ext uri="{FF2B5EF4-FFF2-40B4-BE49-F238E27FC236}">
                <a16:creationId xmlns:a16="http://schemas.microsoft.com/office/drawing/2014/main" id="{E8418578-23A1-58EE-AF67-2097D9E058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94871" y="795419"/>
            <a:ext cx="2183240" cy="1637431"/>
          </a:xfrm>
          <a:prstGeom prst="rect">
            <a:avLst/>
          </a:prstGeom>
        </p:spPr>
      </p:pic>
      <p:pic>
        <p:nvPicPr>
          <p:cNvPr id="24" name="Picture 23" descr="A person and person standing on a high rise building&#10;&#10;Description automatically generated">
            <a:extLst>
              <a:ext uri="{FF2B5EF4-FFF2-40B4-BE49-F238E27FC236}">
                <a16:creationId xmlns:a16="http://schemas.microsoft.com/office/drawing/2014/main" id="{446D9289-3696-CBB4-DB52-EFE1B15A62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375" y="3015593"/>
            <a:ext cx="4164467" cy="311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2194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7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CF24890-3044-A14E-186B-C5B4315935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PL" dirty="0"/>
              <a:t>Basic introdu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CFC498-4900-CB5B-60C4-4F07268EE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EventGrid found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826E01-81F3-EC68-E757-3C3033A1D4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299076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75A5EAC-9763-A5CF-A3C1-F860C63908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Theory behind a servi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04A91F-0796-1B53-FD38-EF9EFF279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Event Gri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91C5A3-9743-1ADA-C300-FCCC3FF854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P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A537B4-0DD1-C78D-B07A-9809B35BF10D}"/>
              </a:ext>
            </a:extLst>
          </p:cNvPr>
          <p:cNvSpPr txBox="1"/>
          <p:nvPr/>
        </p:nvSpPr>
        <p:spPr>
          <a:xfrm>
            <a:off x="533400" y="2182505"/>
            <a:ext cx="8545286" cy="44319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Fully serverless and managed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Designed as event source of truth in your solution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Supports in build and custom topic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Device connected to IoT hub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New blob object was created in a contain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New telemetry datapoint stored </a:t>
            </a:r>
            <a:r>
              <a:rPr lang="en-US" dirty="0"/>
              <a:t>in</a:t>
            </a:r>
            <a:r>
              <a:rPr lang="en-PL" dirty="0"/>
              <a:t> queu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User session is inactiv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Easy to integrate with other ingestion services like ie Event Hub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Available on AK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PL" dirty="0"/>
              <a:t>New Mqtt functionality is now in G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PL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DC3B4A6-230B-574F-71E8-77483B6FC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4543" y="243512"/>
            <a:ext cx="3069771" cy="1728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6C13A3-DE06-CCD2-C8C4-5AA2A31AA0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1772" y="2088044"/>
            <a:ext cx="3581399" cy="21697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85635BE-8FED-8363-1A27-758587CE5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1772" y="4694406"/>
            <a:ext cx="3733800" cy="1483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6633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7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A4D6DA0-6455-AB92-CC09-0D5E2059B3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E62060-070F-B78B-D257-11473F323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Event Grid vs Event Hub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316779-7951-A436-B38C-4231E0ED32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289879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7064A5-4CC5-D61C-C2F6-31B8776A9A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PL" dirty="0"/>
              <a:t>How it used to be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DD8F36-62BF-D770-0C08-D39426EB1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L" dirty="0"/>
              <a:t>Event Grid IoT Hub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0B69DF-7425-24C9-6ED1-7C5D38C32E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P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B05D82-1F43-DCB3-E323-0A9C197270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610" y="1625199"/>
            <a:ext cx="9135333" cy="450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2408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FALLBACK_LAYOUT" val="1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56"/>
  <p:tag name="MIO_EKGUID" val="a485128d-a4fb-4ddb-8bad-d2f1dbdea453"/>
  <p:tag name="MIO_VERSION" val="31.05.2023 12:18:42"/>
  <p:tag name="MIO_DBID" val="D7ED4A1B-644D-42C8-B85A-3AF7EB19A1AD"/>
  <p:tag name="MIO_OBJECTNAME" val="EPAM Master 2023.5"/>
  <p:tag name="MIO_SKIPVERSION" val="01.01.0001 00:00:00"/>
  <p:tag name="MIO_LASTDOWNLOADED" val="31.05.2023 16:59:32"/>
  <p:tag name="MIO_CDID" val="b2432654-21ad-4919-b8a6-653a7f8fcb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8"/>
  <p:tag name="MIO_HDS" val="True"/>
  <p:tag name="MIO_SKIPVERSION" val="01.01.0001 00:00:00"/>
  <p:tag name="MIO_EKGUID" val="1bb6a59b-844e-4923-87b4-226362f8a63e"/>
  <p:tag name="MIO_UPDATE" val="True"/>
  <p:tag name="MIO_VERSION" val="02.07.2021 09:45:47"/>
  <p:tag name="MIO_DBID" val="D7ED4A1B-644D-42C8-B85A-3AF7EB19A1AD"/>
  <p:tag name="MIO_LASTDOWNLOADED" val="31.08.2021 11:02:19"/>
  <p:tag name="MIO_OBJECTNAME" val="EPAM NA Master 2021 NEW"/>
</p:tagLst>
</file>

<file path=ppt/theme/theme1.xml><?xml version="1.0" encoding="utf-8"?>
<a:theme xmlns:a="http://schemas.openxmlformats.org/drawingml/2006/main" name="1_EPAM Master 2023.5">
  <a:themeElements>
    <a:clrScheme name="EPAM 2023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060606"/>
      </a:accent1>
      <a:accent2>
        <a:srgbClr val="418DFF"/>
      </a:accent2>
      <a:accent3>
        <a:srgbClr val="107E8D"/>
      </a:accent3>
      <a:accent4>
        <a:srgbClr val="8353D2"/>
      </a:accent4>
      <a:accent5>
        <a:srgbClr val="3055DA"/>
      </a:accent5>
      <a:accent6>
        <a:srgbClr val="009CBE"/>
      </a:accent6>
      <a:hlink>
        <a:srgbClr val="61E2BB"/>
      </a:hlink>
      <a:folHlink>
        <a:srgbClr val="03815B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  <a:custClr name="Coral Orange">
      <a:srgbClr val="F57F41"/>
    </a:custClr>
    <a:custClr name="Tangerine">
      <a:srgbClr val="F15C44"/>
    </a:custClr>
    <a:custClr name="Gold">
      <a:srgbClr val="DBB661"/>
    </a:custClr>
    <a:custClr name="Turqoise">
      <a:srgbClr val="2A9D8E"/>
    </a:custClr>
    <a:custClr name="Ocean">
      <a:srgbClr val="209EBD"/>
    </a:custClr>
    <a:custClr name="Charcoal">
      <a:srgbClr val="264553"/>
    </a:custClr>
    <a:custClr name="Eggplant">
      <a:srgbClr val="58335E"/>
    </a:custClr>
    <a:custClr name="Grape Soda">
      <a:srgbClr val="745C97"/>
    </a:custClr>
    <a:custClr name="Wild Berry">
      <a:srgbClr val="89608E"/>
    </a:custClr>
    <a:custClr name="Taffy">
      <a:srgbClr val="8ACDEA"/>
    </a:custClr>
    <a:custClr name="Honey">
      <a:srgbClr val="EFEA5A"/>
    </a:custClr>
    <a:custClr name="Mint">
      <a:srgbClr val="2CD094"/>
    </a:custClr>
    <a:custClr name="Malibu">
      <a:srgbClr val="BAD49C"/>
    </a:custClr>
    <a:custClr name="Cotton Candy">
      <a:srgbClr val="EEB4B3"/>
    </a:custClr>
    <a:custClr name="Guava">
      <a:srgbClr val="E26D5C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10.xml><?xml version="1.0" encoding="utf-8"?>
<a:theme xmlns:a="http://schemas.openxmlformats.org/drawingml/2006/main" name="3_EPAM Master 2023.5">
  <a:themeElements>
    <a:clrScheme name="EPAM 2023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060606"/>
      </a:accent1>
      <a:accent2>
        <a:srgbClr val="418DFF"/>
      </a:accent2>
      <a:accent3>
        <a:srgbClr val="107E8D"/>
      </a:accent3>
      <a:accent4>
        <a:srgbClr val="8353D2"/>
      </a:accent4>
      <a:accent5>
        <a:srgbClr val="3055DA"/>
      </a:accent5>
      <a:accent6>
        <a:srgbClr val="009CBE"/>
      </a:accent6>
      <a:hlink>
        <a:srgbClr val="61E2BB"/>
      </a:hlink>
      <a:folHlink>
        <a:srgbClr val="03815B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  <a:custClr name="Coral Orange">
      <a:srgbClr val="F57F41"/>
    </a:custClr>
    <a:custClr name="Tangerine">
      <a:srgbClr val="F15C44"/>
    </a:custClr>
    <a:custClr name="Gold">
      <a:srgbClr val="DBB661"/>
    </a:custClr>
    <a:custClr name="Turqoise">
      <a:srgbClr val="2A9D8E"/>
    </a:custClr>
    <a:custClr name="Ocean">
      <a:srgbClr val="209EBD"/>
    </a:custClr>
    <a:custClr name="Charcoal">
      <a:srgbClr val="264553"/>
    </a:custClr>
    <a:custClr name="Eggplant">
      <a:srgbClr val="58335E"/>
    </a:custClr>
    <a:custClr name="Grape Soda">
      <a:srgbClr val="745C97"/>
    </a:custClr>
    <a:custClr name="Wild Berry">
      <a:srgbClr val="89608E"/>
    </a:custClr>
    <a:custClr name="Taffy">
      <a:srgbClr val="8ACDEA"/>
    </a:custClr>
    <a:custClr name="Honey">
      <a:srgbClr val="EFEA5A"/>
    </a:custClr>
    <a:custClr name="Mint">
      <a:srgbClr val="2CD094"/>
    </a:custClr>
    <a:custClr name="Malibu">
      <a:srgbClr val="BAD49C"/>
    </a:custClr>
    <a:custClr name="Cotton Candy">
      <a:srgbClr val="EEB4B3"/>
    </a:custClr>
    <a:custClr name="Guava">
      <a:srgbClr val="E26D5C"/>
    </a:custClr>
  </a:custClrLst>
  <a:extLst>
    <a:ext uri="{05A4C25C-085E-4340-85A3-A5531E510DB2}">
      <thm15:themeFamily xmlns:thm15="http://schemas.microsoft.com/office/thememl/2012/main" name="EPAM PPT Template (3).pptx" id="{9E845E22-8491-4192-8F4C-D03889779D49}" vid="{331ACC65-669B-44A7-8F73-E7C2379C6D94}"/>
    </a:ext>
  </a:extLst>
</a:theme>
</file>

<file path=ppt/theme/theme11.xml><?xml version="1.0" encoding="utf-8"?>
<a:theme xmlns:a="http://schemas.openxmlformats.org/drawingml/2006/main" name="1_EPAM Master 2021.2">
  <a:themeElements>
    <a:clrScheme name="Custom 3">
      <a:dk1>
        <a:srgbClr val="222222"/>
      </a:dk1>
      <a:lt1>
        <a:srgbClr val="FFFFFF"/>
      </a:lt1>
      <a:dk2>
        <a:srgbClr val="A0A0A0"/>
      </a:dk2>
      <a:lt2>
        <a:srgbClr val="F6F6F6"/>
      </a:lt2>
      <a:accent1>
        <a:srgbClr val="222222"/>
      </a:accent1>
      <a:accent2>
        <a:srgbClr val="76CDD8"/>
      </a:accent2>
      <a:accent3>
        <a:srgbClr val="FFC000"/>
      </a:accent3>
      <a:accent4>
        <a:srgbClr val="445464"/>
      </a:accent4>
      <a:accent5>
        <a:srgbClr val="008ACE"/>
      </a:accent5>
      <a:accent6>
        <a:srgbClr val="38C2D7"/>
      </a:accent6>
      <a:hlink>
        <a:srgbClr val="76CDD8"/>
      </a:hlink>
      <a:folHlink>
        <a:srgbClr val="A0A0A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12.xml><?xml version="1.0" encoding="utf-8"?>
<a:theme xmlns:a="http://schemas.openxmlformats.org/drawingml/2006/main" name="5_EPAM Master 2023.5">
  <a:themeElements>
    <a:clrScheme name="EPAM 2023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060606"/>
      </a:accent1>
      <a:accent2>
        <a:srgbClr val="418DFF"/>
      </a:accent2>
      <a:accent3>
        <a:srgbClr val="107E8D"/>
      </a:accent3>
      <a:accent4>
        <a:srgbClr val="8353D2"/>
      </a:accent4>
      <a:accent5>
        <a:srgbClr val="3055DA"/>
      </a:accent5>
      <a:accent6>
        <a:srgbClr val="009CBE"/>
      </a:accent6>
      <a:hlink>
        <a:srgbClr val="61E2BB"/>
      </a:hlink>
      <a:folHlink>
        <a:srgbClr val="03815B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  <a:custClr name="Coral Orange">
      <a:srgbClr val="F57F41"/>
    </a:custClr>
    <a:custClr name="Tangerine">
      <a:srgbClr val="F15C44"/>
    </a:custClr>
    <a:custClr name="Gold">
      <a:srgbClr val="DBB661"/>
    </a:custClr>
    <a:custClr name="Turqoise">
      <a:srgbClr val="2A9D8E"/>
    </a:custClr>
    <a:custClr name="Ocean">
      <a:srgbClr val="209EBD"/>
    </a:custClr>
    <a:custClr name="Charcoal">
      <a:srgbClr val="264553"/>
    </a:custClr>
    <a:custClr name="Eggplant">
      <a:srgbClr val="58335E"/>
    </a:custClr>
    <a:custClr name="Grape Soda">
      <a:srgbClr val="745C97"/>
    </a:custClr>
    <a:custClr name="Wild Berry">
      <a:srgbClr val="89608E"/>
    </a:custClr>
    <a:custClr name="Taffy">
      <a:srgbClr val="8ACDEA"/>
    </a:custClr>
    <a:custClr name="Honey">
      <a:srgbClr val="EFEA5A"/>
    </a:custClr>
    <a:custClr name="Mint">
      <a:srgbClr val="2CD094"/>
    </a:custClr>
    <a:custClr name="Malibu">
      <a:srgbClr val="BAD49C"/>
    </a:custClr>
    <a:custClr name="Cotton Candy">
      <a:srgbClr val="EEB4B3"/>
    </a:custClr>
    <a:custClr name="Guava">
      <a:srgbClr val="E26D5C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PAM Master 2023.5">
  <a:themeElements>
    <a:clrScheme name="EPAM 2023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060606"/>
      </a:accent1>
      <a:accent2>
        <a:srgbClr val="418DFF"/>
      </a:accent2>
      <a:accent3>
        <a:srgbClr val="107E8D"/>
      </a:accent3>
      <a:accent4>
        <a:srgbClr val="8353D2"/>
      </a:accent4>
      <a:accent5>
        <a:srgbClr val="3055DA"/>
      </a:accent5>
      <a:accent6>
        <a:srgbClr val="009CBE"/>
      </a:accent6>
      <a:hlink>
        <a:srgbClr val="61E2BB"/>
      </a:hlink>
      <a:folHlink>
        <a:srgbClr val="03815B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  <a:custClr name="Coral Orange">
      <a:srgbClr val="F57F41"/>
    </a:custClr>
    <a:custClr name="Tangerine">
      <a:srgbClr val="F15C44"/>
    </a:custClr>
    <a:custClr name="Gold">
      <a:srgbClr val="DBB661"/>
    </a:custClr>
    <a:custClr name="Turqoise">
      <a:srgbClr val="2A9D8E"/>
    </a:custClr>
    <a:custClr name="Ocean">
      <a:srgbClr val="209EBD"/>
    </a:custClr>
    <a:custClr name="Charcoal">
      <a:srgbClr val="264553"/>
    </a:custClr>
    <a:custClr name="Eggplant">
      <a:srgbClr val="58335E"/>
    </a:custClr>
    <a:custClr name="Grape Soda">
      <a:srgbClr val="745C97"/>
    </a:custClr>
    <a:custClr name="Wild Berry">
      <a:srgbClr val="89608E"/>
    </a:custClr>
    <a:custClr name="Taffy">
      <a:srgbClr val="8ACDEA"/>
    </a:custClr>
    <a:custClr name="Honey">
      <a:srgbClr val="EFEA5A"/>
    </a:custClr>
    <a:custClr name="Mint">
      <a:srgbClr val="2CD094"/>
    </a:custClr>
    <a:custClr name="Malibu">
      <a:srgbClr val="BAD49C"/>
    </a:custClr>
    <a:custClr name="Cotton Candy">
      <a:srgbClr val="EEB4B3"/>
    </a:custClr>
    <a:custClr name="Guava">
      <a:srgbClr val="E26D5C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3.xml><?xml version="1.0" encoding="utf-8"?>
<a:theme xmlns:a="http://schemas.openxmlformats.org/drawingml/2006/main" name="EPAM Master Light 2023.1">
  <a:themeElements>
    <a:clrScheme name="EPAM Light Palette 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060606"/>
      </a:accent1>
      <a:accent2>
        <a:srgbClr val="0047FF"/>
      </a:accent2>
      <a:accent3>
        <a:srgbClr val="0078C2"/>
      </a:accent3>
      <a:accent4>
        <a:srgbClr val="8353D2"/>
      </a:accent4>
      <a:accent5>
        <a:srgbClr val="0134BB"/>
      </a:accent5>
      <a:accent6>
        <a:srgbClr val="107E8D"/>
      </a:accent6>
      <a:hlink>
        <a:srgbClr val="060606"/>
      </a:hlink>
      <a:folHlink>
        <a:srgbClr val="00000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none" rtlCol="0" anchor="ctr"/>
      <a:lstStyle>
        <a:defPPr algn="ctr">
          <a:defRPr sz="2400" dirty="0" err="1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600"/>
          </a:spcBef>
          <a:defRPr sz="1200" dirty="0" err="1" smtClean="0">
            <a:ea typeface="Human Sans" charset="0"/>
            <a:cs typeface="Huma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4.xml><?xml version="1.0" encoding="utf-8"?>
<a:theme xmlns:a="http://schemas.openxmlformats.org/drawingml/2006/main" name="3_EPAM Master Dark 2023.1">
  <a:themeElements>
    <a:clrScheme name="EPAM Dark Palette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161616"/>
      </a:accent1>
      <a:accent2>
        <a:srgbClr val="00F6FF"/>
      </a:accent2>
      <a:accent3>
        <a:srgbClr val="B896FF"/>
      </a:accent3>
      <a:accent4>
        <a:srgbClr val="7BA8FF"/>
      </a:accent4>
      <a:accent5>
        <a:srgbClr val="418DFF"/>
      </a:accent5>
      <a:accent6>
        <a:srgbClr val="00F3AB"/>
      </a:accent6>
      <a:hlink>
        <a:srgbClr val="060606"/>
      </a:hlink>
      <a:folHlink>
        <a:srgbClr val="00000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none" rtlCol="0" anchor="ctr"/>
      <a:lstStyle>
        <a:defPPr algn="ctr">
          <a:defRPr sz="2400" dirty="0" err="1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600"/>
          </a:spcBef>
          <a:defRPr sz="1200" dirty="0" err="1" smtClean="0">
            <a:ea typeface="Human Sans" charset="0"/>
            <a:cs typeface="Huma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PAM_PPT_Dark_Mode_Main_2023" id="{E976C803-464F-0249-99EF-8599EFA4AED3}" vid="{F5664D46-A9DA-6A47-8343-2D164868DF79}"/>
    </a:ext>
  </a:extLst>
</a:theme>
</file>

<file path=ppt/theme/theme5.xml><?xml version="1.0" encoding="utf-8"?>
<a:theme xmlns:a="http://schemas.openxmlformats.org/drawingml/2006/main" name="4_EPAM Master Dark 2023.1">
  <a:themeElements>
    <a:clrScheme name="EPAM Dark Palette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161616"/>
      </a:accent1>
      <a:accent2>
        <a:srgbClr val="00F6FF"/>
      </a:accent2>
      <a:accent3>
        <a:srgbClr val="B896FF"/>
      </a:accent3>
      <a:accent4>
        <a:srgbClr val="7BA8FF"/>
      </a:accent4>
      <a:accent5>
        <a:srgbClr val="418DFF"/>
      </a:accent5>
      <a:accent6>
        <a:srgbClr val="00F3AB"/>
      </a:accent6>
      <a:hlink>
        <a:srgbClr val="060606"/>
      </a:hlink>
      <a:folHlink>
        <a:srgbClr val="00000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none" rtlCol="0" anchor="ctr"/>
      <a:lstStyle>
        <a:defPPr algn="ctr">
          <a:defRPr sz="2400" dirty="0" err="1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600"/>
          </a:spcBef>
          <a:defRPr sz="1200" dirty="0" err="1" smtClean="0">
            <a:ea typeface="Human Sans" charset="0"/>
            <a:cs typeface="Huma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6.xml><?xml version="1.0" encoding="utf-8"?>
<a:theme xmlns:a="http://schemas.openxmlformats.org/drawingml/2006/main" name="5_EPAM Master Dark 2023.1">
  <a:themeElements>
    <a:clrScheme name="EPAM Dark Palette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060606"/>
      </a:accent1>
      <a:accent2>
        <a:srgbClr val="00F6FF"/>
      </a:accent2>
      <a:accent3>
        <a:srgbClr val="B896FF"/>
      </a:accent3>
      <a:accent4>
        <a:srgbClr val="7BA8FF"/>
      </a:accent4>
      <a:accent5>
        <a:srgbClr val="418DFF"/>
      </a:accent5>
      <a:accent6>
        <a:srgbClr val="00F3AB"/>
      </a:accent6>
      <a:hlink>
        <a:srgbClr val="060606"/>
      </a:hlink>
      <a:folHlink>
        <a:srgbClr val="00000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none" rtlCol="0" anchor="ctr"/>
      <a:lstStyle>
        <a:defPPr algn="ctr">
          <a:defRPr sz="2400" dirty="0" err="1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600"/>
          </a:spcBef>
          <a:defRPr sz="1200" dirty="0" err="1" smtClean="0">
            <a:ea typeface="Human Sans" charset="0"/>
            <a:cs typeface="Huma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PAM_PPT_Dark_Mode_Main_2023" id="{EF72BCB8-4414-0C48-B16F-6B5AE19B2E52}" vid="{F16CEA66-15E9-1248-8FB0-6113E4E55C22}"/>
    </a:ext>
  </a:extLst>
</a:theme>
</file>

<file path=ppt/theme/theme7.xml><?xml version="1.0" encoding="utf-8"?>
<a:theme xmlns:a="http://schemas.openxmlformats.org/drawingml/2006/main" name="6_EPAM Master Dark 2023.1">
  <a:themeElements>
    <a:clrScheme name="EPAM Dark Palette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161616"/>
      </a:accent1>
      <a:accent2>
        <a:srgbClr val="00F6FF"/>
      </a:accent2>
      <a:accent3>
        <a:srgbClr val="B896FF"/>
      </a:accent3>
      <a:accent4>
        <a:srgbClr val="7BA8FF"/>
      </a:accent4>
      <a:accent5>
        <a:srgbClr val="418DFF"/>
      </a:accent5>
      <a:accent6>
        <a:srgbClr val="00F3AB"/>
      </a:accent6>
      <a:hlink>
        <a:srgbClr val="060606"/>
      </a:hlink>
      <a:folHlink>
        <a:srgbClr val="00000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none" rtlCol="0" anchor="ctr"/>
      <a:lstStyle>
        <a:defPPr algn="ctr">
          <a:defRPr sz="2400" dirty="0" err="1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lnSpc>
            <a:spcPct val="110000"/>
          </a:lnSpc>
          <a:spcBef>
            <a:spcPts val="600"/>
          </a:spcBef>
          <a:defRPr sz="1200" dirty="0" smtClean="0">
            <a:solidFill>
              <a:schemeClr val="bg1"/>
            </a:solidFill>
            <a:latin typeface="Calibri Light" panose="020F0302020204030204" pitchFamily="34" charset="0"/>
            <a:ea typeface="Human Sans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8.xml><?xml version="1.0" encoding="utf-8"?>
<a:theme xmlns:a="http://schemas.openxmlformats.org/drawingml/2006/main" name="4_EPAM Master 2023.5">
  <a:themeElements>
    <a:clrScheme name="EPAM 2023">
      <a:dk1>
        <a:srgbClr val="000000"/>
      </a:dk1>
      <a:lt1>
        <a:srgbClr val="FFFFFF"/>
      </a:lt1>
      <a:dk2>
        <a:srgbClr val="A0A0A0"/>
      </a:dk2>
      <a:lt2>
        <a:srgbClr val="FBFAFA"/>
      </a:lt2>
      <a:accent1>
        <a:srgbClr val="060606"/>
      </a:accent1>
      <a:accent2>
        <a:srgbClr val="418DFF"/>
      </a:accent2>
      <a:accent3>
        <a:srgbClr val="107E8D"/>
      </a:accent3>
      <a:accent4>
        <a:srgbClr val="8353D2"/>
      </a:accent4>
      <a:accent5>
        <a:srgbClr val="3055DA"/>
      </a:accent5>
      <a:accent6>
        <a:srgbClr val="009CBE"/>
      </a:accent6>
      <a:hlink>
        <a:srgbClr val="61E2BB"/>
      </a:hlink>
      <a:folHlink>
        <a:srgbClr val="03815B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  <a:custClr name="Coral Orange">
      <a:srgbClr val="F57F41"/>
    </a:custClr>
    <a:custClr name="Tangerine">
      <a:srgbClr val="F15C44"/>
    </a:custClr>
    <a:custClr name="Gold">
      <a:srgbClr val="DBB661"/>
    </a:custClr>
    <a:custClr name="Turqoise">
      <a:srgbClr val="2A9D8E"/>
    </a:custClr>
    <a:custClr name="Ocean">
      <a:srgbClr val="209EBD"/>
    </a:custClr>
    <a:custClr name="Charcoal">
      <a:srgbClr val="264553"/>
    </a:custClr>
    <a:custClr name="Eggplant">
      <a:srgbClr val="58335E"/>
    </a:custClr>
    <a:custClr name="Grape Soda">
      <a:srgbClr val="745C97"/>
    </a:custClr>
    <a:custClr name="Wild Berry">
      <a:srgbClr val="89608E"/>
    </a:custClr>
    <a:custClr name="Taffy">
      <a:srgbClr val="8ACDEA"/>
    </a:custClr>
    <a:custClr name="Honey">
      <a:srgbClr val="EFEA5A"/>
    </a:custClr>
    <a:custClr name="Mint">
      <a:srgbClr val="2CD094"/>
    </a:custClr>
    <a:custClr name="Malibu">
      <a:srgbClr val="BAD49C"/>
    </a:custClr>
    <a:custClr name="Cotton Candy">
      <a:srgbClr val="EEB4B3"/>
    </a:custClr>
    <a:custClr name="Guava">
      <a:srgbClr val="E26D5C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9.xml><?xml version="1.0" encoding="utf-8"?>
<a:theme xmlns:a="http://schemas.openxmlformats.org/drawingml/2006/main" name="EPAM Master 2021.3">
  <a:themeElements>
    <a:clrScheme name="Custom 3">
      <a:dk1>
        <a:srgbClr val="222222"/>
      </a:dk1>
      <a:lt1>
        <a:srgbClr val="FFFFFF"/>
      </a:lt1>
      <a:dk2>
        <a:srgbClr val="A0A0A0"/>
      </a:dk2>
      <a:lt2>
        <a:srgbClr val="F6F6F6"/>
      </a:lt2>
      <a:accent1>
        <a:srgbClr val="222222"/>
      </a:accent1>
      <a:accent2>
        <a:srgbClr val="76CDD8"/>
      </a:accent2>
      <a:accent3>
        <a:srgbClr val="FFC000"/>
      </a:accent3>
      <a:accent4>
        <a:srgbClr val="445464"/>
      </a:accent4>
      <a:accent5>
        <a:srgbClr val="008ACE"/>
      </a:accent5>
      <a:accent6>
        <a:srgbClr val="38C2D7"/>
      </a:accent6>
      <a:hlink>
        <a:srgbClr val="76CDD8"/>
      </a:hlink>
      <a:folHlink>
        <a:srgbClr val="A0A0A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  <a:custClr name="Coral Orange">
      <a:srgbClr val="F57F41"/>
    </a:custClr>
    <a:custClr name="Tangerine">
      <a:srgbClr val="F15C44"/>
    </a:custClr>
    <a:custClr name="Gold">
      <a:srgbClr val="DBB661"/>
    </a:custClr>
    <a:custClr name="Turqoise">
      <a:srgbClr val="2A9D8E"/>
    </a:custClr>
    <a:custClr name="Ocean">
      <a:srgbClr val="209EBD"/>
    </a:custClr>
    <a:custClr name="Charcoal">
      <a:srgbClr val="264553"/>
    </a:custClr>
    <a:custClr name="Eggplant">
      <a:srgbClr val="58335E"/>
    </a:custClr>
    <a:custClr name="Grape Soda">
      <a:srgbClr val="745C97"/>
    </a:custClr>
    <a:custClr name="Wild Berry">
      <a:srgbClr val="89608E"/>
    </a:custClr>
    <a:custClr name="Taffy">
      <a:srgbClr val="8ACDEA"/>
    </a:custClr>
    <a:custClr name="Honey">
      <a:srgbClr val="EFEA5A"/>
    </a:custClr>
    <a:custClr name="Mint">
      <a:srgbClr val="2CD094"/>
    </a:custClr>
    <a:custClr name="Malibu">
      <a:srgbClr val="BAD49C"/>
    </a:custClr>
    <a:custClr name="Cotton Candy">
      <a:srgbClr val="EEB4B3"/>
    </a:custClr>
    <a:custClr name="Guava">
      <a:srgbClr val="E26D5C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a9fdab-d3e7-471c-a898-5eeec566131c">
      <Terms xmlns="http://schemas.microsoft.com/office/infopath/2007/PartnerControls"/>
    </lcf76f155ced4ddcb4097134ff3c332f>
    <TaxCatchAll xmlns="f379a68f-dd2b-419b-8e57-6e98dadcbbff" xsi:nil="true"/>
    <SharedWithUsers xmlns="f379a68f-dd2b-419b-8e57-6e98dadcbbff">
      <UserInfo>
        <DisplayName>Iqbal Rahmoon</DisplayName>
        <AccountId>1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53142F36763C43BCF500B51BFF7D30" ma:contentTypeVersion="12" ma:contentTypeDescription="Create a new document." ma:contentTypeScope="" ma:versionID="546c30836719a4ca3e0bde0918032abf">
  <xsd:schema xmlns:xsd="http://www.w3.org/2001/XMLSchema" xmlns:xs="http://www.w3.org/2001/XMLSchema" xmlns:p="http://schemas.microsoft.com/office/2006/metadata/properties" xmlns:ns2="e0a9fdab-d3e7-471c-a898-5eeec566131c" xmlns:ns3="f379a68f-dd2b-419b-8e57-6e98dadcbbff" targetNamespace="http://schemas.microsoft.com/office/2006/metadata/properties" ma:root="true" ma:fieldsID="854991cb317d095863863a72d1cafd7a" ns2:_="" ns3:_="">
    <xsd:import namespace="e0a9fdab-d3e7-471c-a898-5eeec566131c"/>
    <xsd:import namespace="f379a68f-dd2b-419b-8e57-6e98dadcb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a9fdab-d3e7-471c-a898-5eeec56613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debda6a7-6b37-4000-ac6c-4fd0a96389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79a68f-dd2b-419b-8e57-6e98dadcbbf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5cb9bbf-c7b4-411e-951e-a5730c68bfab}" ma:internalName="TaxCatchAll" ma:showField="CatchAllData" ma:web="f379a68f-dd2b-419b-8e57-6e98dadcb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CB61B0-890D-489B-8AFD-F191EE05165B}">
  <ds:schemaRefs>
    <ds:schemaRef ds:uri="http://purl.org/dc/dcmitype/"/>
    <ds:schemaRef ds:uri="http://purl.org/dc/terms/"/>
    <ds:schemaRef ds:uri="f379a68f-dd2b-419b-8e57-6e98dadcbbff"/>
    <ds:schemaRef ds:uri="e0a9fdab-d3e7-471c-a898-5eeec566131c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463734-5112-4793-A3AC-4CC4FCA77D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94CF90-13C7-4A18-BBB4-9B92A020C973}">
  <ds:schemaRefs>
    <ds:schemaRef ds:uri="e0a9fdab-d3e7-471c-a898-5eeec566131c"/>
    <ds:schemaRef ds:uri="f379a68f-dd2b-419b-8e57-6e98dadcbb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11</TotalTime>
  <Words>230</Words>
  <Application>Microsoft Macintosh PowerPoint</Application>
  <PresentationFormat>Widescreen</PresentationFormat>
  <Paragraphs>51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46" baseType="lpstr">
      <vt:lpstr>Arial</vt:lpstr>
      <vt:lpstr>Calibri</vt:lpstr>
      <vt:lpstr>Calibri Bold</vt:lpstr>
      <vt:lpstr>Calibri Light</vt:lpstr>
      <vt:lpstr>Calibri Regular</vt:lpstr>
      <vt:lpstr>Courier New</vt:lpstr>
      <vt:lpstr>Google Sans</vt:lpstr>
      <vt:lpstr>Human Sans</vt:lpstr>
      <vt:lpstr>Museo Sans 100</vt:lpstr>
      <vt:lpstr>Museo Sans 300</vt:lpstr>
      <vt:lpstr>Museo Sans 500</vt:lpstr>
      <vt:lpstr>Museo Slab 1000</vt:lpstr>
      <vt:lpstr>MuseoSans</vt:lpstr>
      <vt:lpstr>Open Sans</vt:lpstr>
      <vt:lpstr>Source Sans Pro</vt:lpstr>
      <vt:lpstr>Source Sans Pro Light</vt:lpstr>
      <vt:lpstr>Trebuchet MS</vt:lpstr>
      <vt:lpstr>Wingdings</vt:lpstr>
      <vt:lpstr>1_EPAM Master 2023.5</vt:lpstr>
      <vt:lpstr>2_EPAM Master 2023.5</vt:lpstr>
      <vt:lpstr>EPAM Master Light 2023.1</vt:lpstr>
      <vt:lpstr>3_EPAM Master Dark 2023.1</vt:lpstr>
      <vt:lpstr>4_EPAM Master Dark 2023.1</vt:lpstr>
      <vt:lpstr>5_EPAM Master Dark 2023.1</vt:lpstr>
      <vt:lpstr>6_EPAM Master Dark 2023.1</vt:lpstr>
      <vt:lpstr>4_EPAM Master 2023.5</vt:lpstr>
      <vt:lpstr>EPAM Master 2021.3</vt:lpstr>
      <vt:lpstr>3_EPAM Master 2023.5</vt:lpstr>
      <vt:lpstr>1_EPAM Master 2021.2</vt:lpstr>
      <vt:lpstr>5_EPAM Master 2023.5</vt:lpstr>
      <vt:lpstr>think-cell Folie</vt:lpstr>
      <vt:lpstr>PowerPoint Presentation</vt:lpstr>
      <vt:lpstr>PowerPoint Presentation</vt:lpstr>
      <vt:lpstr>Agenda</vt:lpstr>
      <vt:lpstr>About the author</vt:lpstr>
      <vt:lpstr>Pawel Fiderek</vt:lpstr>
      <vt:lpstr>EventGrid foundation</vt:lpstr>
      <vt:lpstr>Event Grid</vt:lpstr>
      <vt:lpstr>Event Grid vs Event Hub</vt:lpstr>
      <vt:lpstr>Event Grid IoT Hub</vt:lpstr>
      <vt:lpstr>Event Grid IoT Hub</vt:lpstr>
      <vt:lpstr>Event Grid IoT Hub</vt:lpstr>
      <vt:lpstr>Live demo</vt:lpstr>
      <vt:lpstr>Q&amp;A</vt:lpstr>
      <vt:lpstr>PowerPoint Presentation</vt:lpstr>
      <vt:lpstr>Thank you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PAM Java Competency</dc:title>
  <dc:creator>Palina Vilava</dc:creator>
  <cp:lastModifiedBy>Pawel Fiderek</cp:lastModifiedBy>
  <cp:revision>12</cp:revision>
  <dcterms:created xsi:type="dcterms:W3CDTF">2020-10-27T12:12:11Z</dcterms:created>
  <dcterms:modified xsi:type="dcterms:W3CDTF">2024-02-06T09:0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53142F36763C43BCF500B51BFF7D30</vt:lpwstr>
  </property>
  <property fmtid="{D5CDD505-2E9C-101B-9397-08002B2CF9AE}" pid="3" name="MSIP_Label_2a535040-0af2-483f-adc3-a132c21e3e2b_Enabled">
    <vt:lpwstr>true</vt:lpwstr>
  </property>
  <property fmtid="{D5CDD505-2E9C-101B-9397-08002B2CF9AE}" pid="4" name="MSIP_Label_2a535040-0af2-483f-adc3-a132c21e3e2b_SetDate">
    <vt:lpwstr>2022-09-19T13:12:21Z</vt:lpwstr>
  </property>
  <property fmtid="{D5CDD505-2E9C-101B-9397-08002B2CF9AE}" pid="5" name="MSIP_Label_2a535040-0af2-483f-adc3-a132c21e3e2b_Method">
    <vt:lpwstr>Standard</vt:lpwstr>
  </property>
  <property fmtid="{D5CDD505-2E9C-101B-9397-08002B2CF9AE}" pid="6" name="MSIP_Label_2a535040-0af2-483f-adc3-a132c21e3e2b_Name">
    <vt:lpwstr>EPAM_Confidential</vt:lpwstr>
  </property>
  <property fmtid="{D5CDD505-2E9C-101B-9397-08002B2CF9AE}" pid="7" name="MSIP_Label_2a535040-0af2-483f-adc3-a132c21e3e2b_SiteId">
    <vt:lpwstr>b41b72d0-4e9f-4c26-8a69-f949f367c91d</vt:lpwstr>
  </property>
  <property fmtid="{D5CDD505-2E9C-101B-9397-08002B2CF9AE}" pid="8" name="MSIP_Label_2a535040-0af2-483f-adc3-a132c21e3e2b_ActionId">
    <vt:lpwstr>5b4d062b-09d9-4a50-b263-e33913c18f97</vt:lpwstr>
  </property>
  <property fmtid="{D5CDD505-2E9C-101B-9397-08002B2CF9AE}" pid="9" name="MSIP_Label_2a535040-0af2-483f-adc3-a132c21e3e2b_ContentBits">
    <vt:lpwstr>0</vt:lpwstr>
  </property>
  <property fmtid="{D5CDD505-2E9C-101B-9397-08002B2CF9AE}" pid="10" name="MediaServiceImageTags">
    <vt:lpwstr/>
  </property>
</Properties>
</file>